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Override1.xml" ContentType="application/vnd.openxmlformats-officedocument.themeOverr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heme/themeOverride2.xml" ContentType="application/vnd.openxmlformats-officedocument.themeOverr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64" r:id="rId1"/>
    <p:sldMasterId id="2147483672" r:id="rId2"/>
  </p:sldMasterIdLst>
  <p:notesMasterIdLst>
    <p:notesMasterId r:id="rId10"/>
  </p:notesMasterIdLst>
  <p:handoutMasterIdLst>
    <p:handoutMasterId r:id="rId11"/>
  </p:handoutMasterIdLst>
  <p:sldIdLst>
    <p:sldId id="256" r:id="rId3"/>
    <p:sldId id="319" r:id="rId4"/>
    <p:sldId id="317" r:id="rId5"/>
    <p:sldId id="371" r:id="rId6"/>
    <p:sldId id="353" r:id="rId7"/>
    <p:sldId id="372" r:id="rId8"/>
    <p:sldId id="261" r:id="rId9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EECF4"/>
    <a:srgbClr val="7EAB7B"/>
    <a:srgbClr val="FDE0EC"/>
    <a:srgbClr val="D5A1CC"/>
    <a:srgbClr val="B58AAE"/>
    <a:srgbClr val="8BC8F5"/>
    <a:srgbClr val="8C603D"/>
    <a:srgbClr val="2346AE"/>
    <a:srgbClr val="FF9900"/>
    <a:srgbClr val="2F282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113A9D2-9D6B-4929-AA2D-F23B5EE8CBE7}" styleName="主题样式 2 - 强调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940675A-B579-460E-94D1-54222C63F5DA}" styleName="无样式，网格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06799F8-075E-4A3A-A7F6-7FBC6576F1A4}" styleName="主题样式 2 - 强调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27F97BB-C833-4FB7-BDE5-3F7075034690}" styleName="主题样式 2 - 强调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E269D01E-BC32-4049-B463-5C60D7B0CCD2}" styleName="主题样式 2 - 强调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38B1855-1B75-4FBE-930C-398BA8C253C6}" styleName="主题样式 2 - 强调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8D230F3-CF80-4859-8CE7-A43EE81993B5}" styleName="浅色样式 1 - 强调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C083E6E3-FA7D-4D7B-A595-EF9225AFEA82}" styleName="浅色样式 1 - 强调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3B4B98B0-60AC-42C2-AFA5-B58CD77FA1E5}" styleName="浅色样式 1 - 强调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C89EF96-8CEA-46FF-86C4-4CE0E7609802}" styleName="浅色样式 3 - 强调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浅色样式 2 - 强调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中度样式 1 - 强调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5403"/>
    <p:restoredTop sz="88860"/>
  </p:normalViewPr>
  <p:slideViewPr>
    <p:cSldViewPr snapToGrid="0">
      <p:cViewPr>
        <p:scale>
          <a:sx n="164" d="100"/>
          <a:sy n="164" d="100"/>
        </p:scale>
        <p:origin x="1336" y="6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3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i  Yangshihao" userId="S::s302568@studenti.polito.it::ee48da2e-17a2-4953-b1e7-564eeca1e514" providerId="AD" clId="Web-{6F170168-D17B-47F8-88C8-5F5A4D5496A3}"/>
    <pc:docChg chg="modSld">
      <pc:chgData name="Li  Yangshihao" userId="S::s302568@studenti.polito.it::ee48da2e-17a2-4953-b1e7-564eeca1e514" providerId="AD" clId="Web-{6F170168-D17B-47F8-88C8-5F5A4D5496A3}" dt="2023-05-16T19:30:06.339" v="3" actId="1076"/>
      <pc:docMkLst>
        <pc:docMk/>
      </pc:docMkLst>
      <pc:sldChg chg="addSp delSp modSp">
        <pc:chgData name="Li  Yangshihao" userId="S::s302568@studenti.polito.it::ee48da2e-17a2-4953-b1e7-564eeca1e514" providerId="AD" clId="Web-{6F170168-D17B-47F8-88C8-5F5A4D5496A3}" dt="2023-05-16T19:30:06.339" v="3" actId="1076"/>
        <pc:sldMkLst>
          <pc:docMk/>
          <pc:sldMk cId="126589775" sldId="345"/>
        </pc:sldMkLst>
        <pc:picChg chg="del">
          <ac:chgData name="Li  Yangshihao" userId="S::s302568@studenti.polito.it::ee48da2e-17a2-4953-b1e7-564eeca1e514" providerId="AD" clId="Web-{6F170168-D17B-47F8-88C8-5F5A4D5496A3}" dt="2023-05-16T19:29:58.666" v="2"/>
          <ac:picMkLst>
            <pc:docMk/>
            <pc:sldMk cId="126589775" sldId="345"/>
            <ac:picMk id="5" creationId="{AC7385EA-A399-A8EF-8F9C-776877C82F95}"/>
          </ac:picMkLst>
        </pc:picChg>
        <pc:picChg chg="add mod">
          <ac:chgData name="Li  Yangshihao" userId="S::s302568@studenti.polito.it::ee48da2e-17a2-4953-b1e7-564eeca1e514" providerId="AD" clId="Web-{6F170168-D17B-47F8-88C8-5F5A4D5496A3}" dt="2023-05-16T19:30:06.339" v="3" actId="1076"/>
          <ac:picMkLst>
            <pc:docMk/>
            <pc:sldMk cId="126589775" sldId="345"/>
            <ac:picMk id="8" creationId="{F771F80B-1522-AA95-496F-888151B1D2AD}"/>
          </ac:picMkLst>
        </pc:picChg>
      </pc:sldChg>
      <pc:sldChg chg="modSp">
        <pc:chgData name="Li  Yangshihao" userId="S::s302568@studenti.polito.it::ee48da2e-17a2-4953-b1e7-564eeca1e514" providerId="AD" clId="Web-{6F170168-D17B-47F8-88C8-5F5A4D5496A3}" dt="2023-05-16T19:07:41.053" v="0" actId="1076"/>
        <pc:sldMkLst>
          <pc:docMk/>
          <pc:sldMk cId="2954245266" sldId="355"/>
        </pc:sldMkLst>
        <pc:graphicFrameChg chg="mod">
          <ac:chgData name="Li  Yangshihao" userId="S::s302568@studenti.polito.it::ee48da2e-17a2-4953-b1e7-564eeca1e514" providerId="AD" clId="Web-{6F170168-D17B-47F8-88C8-5F5A4D5496A3}" dt="2023-05-16T19:07:41.053" v="0" actId="1076"/>
          <ac:graphicFrameMkLst>
            <pc:docMk/>
            <pc:sldMk cId="2954245266" sldId="355"/>
            <ac:graphicFrameMk id="7" creationId="{7D8A467F-B93F-3591-D4D3-C24F8692036A}"/>
          </ac:graphicFrameMkLst>
        </pc:graphicFrameChg>
      </pc:sldChg>
    </pc:docChg>
  </pc:docChgLst>
  <pc:docChgLst>
    <pc:chgData name="Li  Yangshihao" userId="S::s302568@studenti.polito.it::ee48da2e-17a2-4953-b1e7-564eeca1e514" providerId="AD" clId="Web-{FB7625DC-A828-4DF8-9E69-EB1244DBDBD6}"/>
    <pc:docChg chg="addSld">
      <pc:chgData name="Li  Yangshihao" userId="S::s302568@studenti.polito.it::ee48da2e-17a2-4953-b1e7-564eeca1e514" providerId="AD" clId="Web-{FB7625DC-A828-4DF8-9E69-EB1244DBDBD6}" dt="2023-05-16T22:31:20.571" v="0"/>
      <pc:docMkLst>
        <pc:docMk/>
      </pc:docMkLst>
      <pc:sldChg chg="add replId">
        <pc:chgData name="Li  Yangshihao" userId="S::s302568@studenti.polito.it::ee48da2e-17a2-4953-b1e7-564eeca1e514" providerId="AD" clId="Web-{FB7625DC-A828-4DF8-9E69-EB1244DBDBD6}" dt="2023-05-16T22:31:20.571" v="0"/>
        <pc:sldMkLst>
          <pc:docMk/>
          <pc:sldMk cId="3747817912" sldId="362"/>
        </pc:sldMkLst>
      </pc:sldChg>
    </pc:docChg>
  </pc:docChgLst>
  <pc:docChgLst>
    <pc:chgData name="YIN JUN" userId="S::s296134@studenti.polito.it::40f53ba7-6859-4e15-b6a0-4f636ac10741" providerId="AD" clId="Web-{A01E1E9E-E8E8-4D78-88A0-3D86D1AF7008}"/>
    <pc:docChg chg="modSld">
      <pc:chgData name="YIN JUN" userId="S::s296134@studenti.polito.it::40f53ba7-6859-4e15-b6a0-4f636ac10741" providerId="AD" clId="Web-{A01E1E9E-E8E8-4D78-88A0-3D86D1AF7008}" dt="2023-05-16T22:20:20.952" v="2"/>
      <pc:docMkLst>
        <pc:docMk/>
      </pc:docMkLst>
      <pc:sldChg chg="modSp">
        <pc:chgData name="YIN JUN" userId="S::s296134@studenti.polito.it::40f53ba7-6859-4e15-b6a0-4f636ac10741" providerId="AD" clId="Web-{A01E1E9E-E8E8-4D78-88A0-3D86D1AF7008}" dt="2023-05-16T22:20:20.952" v="2"/>
        <pc:sldMkLst>
          <pc:docMk/>
          <pc:sldMk cId="2954245266" sldId="355"/>
        </pc:sldMkLst>
        <pc:graphicFrameChg chg="mod modGraphic">
          <ac:chgData name="YIN JUN" userId="S::s296134@studenti.polito.it::40f53ba7-6859-4e15-b6a0-4f636ac10741" providerId="AD" clId="Web-{A01E1E9E-E8E8-4D78-88A0-3D86D1AF7008}" dt="2023-05-16T22:20:20.952" v="2"/>
          <ac:graphicFrameMkLst>
            <pc:docMk/>
            <pc:sldMk cId="2954245266" sldId="355"/>
            <ac:graphicFrameMk id="7" creationId="{7D8A467F-B93F-3591-D4D3-C24F8692036A}"/>
          </ac:graphicFrameMkLst>
        </pc:graphicFrameChg>
      </pc:sldChg>
    </pc:docChg>
  </pc:docChgLst>
  <pc:docChgLst>
    <pc:chgData name="CHEN JINGSI" userId="2c6a6994-749a-46da-a9cf-6c6b6bb4c573" providerId="ADAL" clId="{AF9FF4B5-C0CB-AE41-A71D-39792613AE17}"/>
    <pc:docChg chg="undo custSel addSld delSld modSld">
      <pc:chgData name="CHEN JINGSI" userId="2c6a6994-749a-46da-a9cf-6c6b6bb4c573" providerId="ADAL" clId="{AF9FF4B5-C0CB-AE41-A71D-39792613AE17}" dt="2023-05-08T19:48:32.366" v="1190" actId="20577"/>
      <pc:docMkLst>
        <pc:docMk/>
      </pc:docMkLst>
      <pc:sldChg chg="modSp mod">
        <pc:chgData name="CHEN JINGSI" userId="2c6a6994-749a-46da-a9cf-6c6b6bb4c573" providerId="ADAL" clId="{AF9FF4B5-C0CB-AE41-A71D-39792613AE17}" dt="2023-05-08T17:25:53.091" v="270" actId="1076"/>
        <pc:sldMkLst>
          <pc:docMk/>
          <pc:sldMk cId="0" sldId="256"/>
        </pc:sldMkLst>
        <pc:spChg chg="mod">
          <ac:chgData name="CHEN JINGSI" userId="2c6a6994-749a-46da-a9cf-6c6b6bb4c573" providerId="ADAL" clId="{AF9FF4B5-C0CB-AE41-A71D-39792613AE17}" dt="2023-05-08T17:25:53.091" v="270" actId="1076"/>
          <ac:spMkLst>
            <pc:docMk/>
            <pc:sldMk cId="0" sldId="256"/>
            <ac:spMk id="5" creationId="{4C51D62C-5F52-EF1C-138B-041679BB5F94}"/>
          </ac:spMkLst>
        </pc:spChg>
      </pc:sldChg>
      <pc:sldChg chg="del">
        <pc:chgData name="CHEN JINGSI" userId="2c6a6994-749a-46da-a9cf-6c6b6bb4c573" providerId="ADAL" clId="{AF9FF4B5-C0CB-AE41-A71D-39792613AE17}" dt="2023-05-08T17:03:54.222" v="179" actId="2696"/>
        <pc:sldMkLst>
          <pc:docMk/>
          <pc:sldMk cId="1200446017" sldId="326"/>
        </pc:sldMkLst>
      </pc:sldChg>
      <pc:sldChg chg="addSp delSp modSp mod modNotesTx">
        <pc:chgData name="CHEN JINGSI" userId="2c6a6994-749a-46da-a9cf-6c6b6bb4c573" providerId="ADAL" clId="{AF9FF4B5-C0CB-AE41-A71D-39792613AE17}" dt="2023-05-08T17:28:59.718" v="346" actId="1076"/>
        <pc:sldMkLst>
          <pc:docMk/>
          <pc:sldMk cId="2122089933" sldId="332"/>
        </pc:sldMkLst>
        <pc:spChg chg="del mod">
          <ac:chgData name="CHEN JINGSI" userId="2c6a6994-749a-46da-a9cf-6c6b6bb4c573" providerId="ADAL" clId="{AF9FF4B5-C0CB-AE41-A71D-39792613AE17}" dt="2023-05-08T17:20:05.553" v="206" actId="478"/>
          <ac:spMkLst>
            <pc:docMk/>
            <pc:sldMk cId="2122089933" sldId="332"/>
            <ac:spMk id="5" creationId="{8BEB727A-1B3E-04F8-0D01-D825C864827B}"/>
          </ac:spMkLst>
        </pc:spChg>
        <pc:spChg chg="mod">
          <ac:chgData name="CHEN JINGSI" userId="2c6a6994-749a-46da-a9cf-6c6b6bb4c573" providerId="ADAL" clId="{AF9FF4B5-C0CB-AE41-A71D-39792613AE17}" dt="2023-05-08T17:28:59.718" v="346" actId="1076"/>
          <ac:spMkLst>
            <pc:docMk/>
            <pc:sldMk cId="2122089933" sldId="332"/>
            <ac:spMk id="11" creationId="{6F1FE2F3-EE9B-F60F-16D3-3D5FDF31797D}"/>
          </ac:spMkLst>
        </pc:spChg>
        <pc:spChg chg="mod">
          <ac:chgData name="CHEN JINGSI" userId="2c6a6994-749a-46da-a9cf-6c6b6bb4c573" providerId="ADAL" clId="{AF9FF4B5-C0CB-AE41-A71D-39792613AE17}" dt="2023-05-08T16:59:30.284" v="118" actId="1076"/>
          <ac:spMkLst>
            <pc:docMk/>
            <pc:sldMk cId="2122089933" sldId="332"/>
            <ac:spMk id="12" creationId="{467F7760-C22B-8DEE-CBFC-B03A417304B0}"/>
          </ac:spMkLst>
        </pc:spChg>
        <pc:spChg chg="mod">
          <ac:chgData name="CHEN JINGSI" userId="2c6a6994-749a-46da-a9cf-6c6b6bb4c573" providerId="ADAL" clId="{AF9FF4B5-C0CB-AE41-A71D-39792613AE17}" dt="2023-05-08T16:59:33.785" v="119" actId="1076"/>
          <ac:spMkLst>
            <pc:docMk/>
            <pc:sldMk cId="2122089933" sldId="332"/>
            <ac:spMk id="13" creationId="{D2A65E2D-0472-17DC-3F5A-DCC372BA2487}"/>
          </ac:spMkLst>
        </pc:spChg>
        <pc:spChg chg="mod">
          <ac:chgData name="CHEN JINGSI" userId="2c6a6994-749a-46da-a9cf-6c6b6bb4c573" providerId="ADAL" clId="{AF9FF4B5-C0CB-AE41-A71D-39792613AE17}" dt="2023-05-08T16:58:35.259" v="108" actId="20577"/>
          <ac:spMkLst>
            <pc:docMk/>
            <pc:sldMk cId="2122089933" sldId="332"/>
            <ac:spMk id="14" creationId="{DF30948C-C290-008E-BF17-91A1822F6CB7}"/>
          </ac:spMkLst>
        </pc:spChg>
        <pc:spChg chg="mod">
          <ac:chgData name="CHEN JINGSI" userId="2c6a6994-749a-46da-a9cf-6c6b6bb4c573" providerId="ADAL" clId="{AF9FF4B5-C0CB-AE41-A71D-39792613AE17}" dt="2023-05-08T16:59:38.015" v="120" actId="1076"/>
          <ac:spMkLst>
            <pc:docMk/>
            <pc:sldMk cId="2122089933" sldId="332"/>
            <ac:spMk id="15" creationId="{03B78A08-8528-A446-BEE7-ECCF23EF8B5A}"/>
          </ac:spMkLst>
        </pc:spChg>
        <pc:spChg chg="del">
          <ac:chgData name="CHEN JINGSI" userId="2c6a6994-749a-46da-a9cf-6c6b6bb4c573" providerId="ADAL" clId="{AF9FF4B5-C0CB-AE41-A71D-39792613AE17}" dt="2023-05-08T16:58:29.092" v="105" actId="478"/>
          <ac:spMkLst>
            <pc:docMk/>
            <pc:sldMk cId="2122089933" sldId="332"/>
            <ac:spMk id="16" creationId="{A571050C-B9B7-777A-1EBC-87DEBEC00051}"/>
          </ac:spMkLst>
        </pc:spChg>
        <pc:spChg chg="mod">
          <ac:chgData name="CHEN JINGSI" userId="2c6a6994-749a-46da-a9cf-6c6b6bb4c573" providerId="ADAL" clId="{AF9FF4B5-C0CB-AE41-A71D-39792613AE17}" dt="2023-05-08T17:00:13.902" v="128" actId="1076"/>
          <ac:spMkLst>
            <pc:docMk/>
            <pc:sldMk cId="2122089933" sldId="332"/>
            <ac:spMk id="17" creationId="{919BC826-BC06-D9D3-5D22-ECCD65AA2F97}"/>
          </ac:spMkLst>
        </pc:spChg>
        <pc:spChg chg="add del mod">
          <ac:chgData name="CHEN JINGSI" userId="2c6a6994-749a-46da-a9cf-6c6b6bb4c573" providerId="ADAL" clId="{AF9FF4B5-C0CB-AE41-A71D-39792613AE17}" dt="2023-05-08T17:00:43.514" v="140"/>
          <ac:spMkLst>
            <pc:docMk/>
            <pc:sldMk cId="2122089933" sldId="332"/>
            <ac:spMk id="25" creationId="{07205C13-EE7F-ECC8-D330-DCE724B6D334}"/>
          </ac:spMkLst>
        </pc:spChg>
        <pc:spChg chg="add mod">
          <ac:chgData name="CHEN JINGSI" userId="2c6a6994-749a-46da-a9cf-6c6b6bb4c573" providerId="ADAL" clId="{AF9FF4B5-C0CB-AE41-A71D-39792613AE17}" dt="2023-05-08T17:00:59.878" v="144" actId="14100"/>
          <ac:spMkLst>
            <pc:docMk/>
            <pc:sldMk cId="2122089933" sldId="332"/>
            <ac:spMk id="26" creationId="{DEBFFDCB-C9A3-D23B-AA95-98463B140246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31" creationId="{8F6CB1C1-EEA1-0188-FACB-4C058403C705}"/>
          </ac:spMkLst>
        </pc:spChg>
        <pc:spChg chg="add mod">
          <ac:chgData name="CHEN JINGSI" userId="2c6a6994-749a-46da-a9cf-6c6b6bb4c573" providerId="ADAL" clId="{AF9FF4B5-C0CB-AE41-A71D-39792613AE17}" dt="2023-05-08T17:25:14.560" v="264" actId="20577"/>
          <ac:spMkLst>
            <pc:docMk/>
            <pc:sldMk cId="2122089933" sldId="332"/>
            <ac:spMk id="32" creationId="{65F158BF-737D-0E04-123C-FDED11EA1492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33" creationId="{CF5FC112-0CCF-9914-6CDA-5D53D7D6DD53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34" creationId="{4C9E7B52-750F-5F54-C30E-2B4172056B97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35" creationId="{D4307527-268B-DE3D-F513-57578A90B98D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36" creationId="{D809F7F8-FF49-BAA8-131A-C7C5D5018B1D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37" creationId="{49DDADB4-7F91-3542-A02D-B8B1A2EF1F16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38" creationId="{522C939E-0F4C-FDD7-49B1-B2E4F6F7AB47}"/>
          </ac:spMkLst>
        </pc:spChg>
        <pc:spChg chg="add mod">
          <ac:chgData name="CHEN JINGSI" userId="2c6a6994-749a-46da-a9cf-6c6b6bb4c573" providerId="ADAL" clId="{AF9FF4B5-C0CB-AE41-A71D-39792613AE17}" dt="2023-05-08T17:25:18.317" v="265"/>
          <ac:spMkLst>
            <pc:docMk/>
            <pc:sldMk cId="2122089933" sldId="332"/>
            <ac:spMk id="39" creationId="{8120333F-9557-EE47-95B2-BAE43F32FC04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40" creationId="{D5B8008B-48E0-8CE4-F1CE-614DE6199CF5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41" creationId="{6BFF0187-9C55-2864-733A-E686C13A855B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42" creationId="{C3698D33-0FB5-E374-DA6B-E547E2400BD9}"/>
          </ac:spMkLst>
        </pc:spChg>
        <pc:grpChg chg="del mod">
          <ac:chgData name="CHEN JINGSI" userId="2c6a6994-749a-46da-a9cf-6c6b6bb4c573" providerId="ADAL" clId="{AF9FF4B5-C0CB-AE41-A71D-39792613AE17}" dt="2023-05-08T17:18:00.164" v="181" actId="478"/>
          <ac:grpSpMkLst>
            <pc:docMk/>
            <pc:sldMk cId="2122089933" sldId="332"/>
            <ac:grpSpMk id="6" creationId="{39ECB93E-AC10-BB50-FB14-C3C0FA8928C7}"/>
          </ac:grpSpMkLst>
        </pc:grpChg>
        <pc:grpChg chg="mod">
          <ac:chgData name="CHEN JINGSI" userId="2c6a6994-749a-46da-a9cf-6c6b6bb4c573" providerId="ADAL" clId="{AF9FF4B5-C0CB-AE41-A71D-39792613AE17}" dt="2023-05-08T16:59:51.327" v="123" actId="164"/>
          <ac:grpSpMkLst>
            <pc:docMk/>
            <pc:sldMk cId="2122089933" sldId="332"/>
            <ac:grpSpMk id="18" creationId="{11044BE8-53E0-D699-17BC-BB7A7014F456}"/>
          </ac:grpSpMkLst>
        </pc:grpChg>
        <pc:grpChg chg="add mod">
          <ac:chgData name="CHEN JINGSI" userId="2c6a6994-749a-46da-a9cf-6c6b6bb4c573" providerId="ADAL" clId="{AF9FF4B5-C0CB-AE41-A71D-39792613AE17}" dt="2023-05-08T17:00:30.840" v="136" actId="1037"/>
          <ac:grpSpMkLst>
            <pc:docMk/>
            <pc:sldMk cId="2122089933" sldId="332"/>
            <ac:grpSpMk id="24" creationId="{DC9A4268-0E5D-ADF3-7156-B3A3E88059C2}"/>
          </ac:grpSpMkLst>
        </pc:grpChg>
        <pc:grpChg chg="add mod">
          <ac:chgData name="CHEN JINGSI" userId="2c6a6994-749a-46da-a9cf-6c6b6bb4c573" providerId="ADAL" clId="{AF9FF4B5-C0CB-AE41-A71D-39792613AE17}" dt="2023-05-08T17:02:48.108" v="153" actId="164"/>
          <ac:grpSpMkLst>
            <pc:docMk/>
            <pc:sldMk cId="2122089933" sldId="332"/>
            <ac:grpSpMk id="30" creationId="{65FFC82D-7D71-3EDD-8E55-D5949AEC0ED3}"/>
          </ac:grpSpMkLst>
        </pc:grpChg>
        <pc:grpChg chg="add mod">
          <ac:chgData name="CHEN JINGSI" userId="2c6a6994-749a-46da-a9cf-6c6b6bb4c573" providerId="ADAL" clId="{AF9FF4B5-C0CB-AE41-A71D-39792613AE17}" dt="2023-05-08T17:18:12.452" v="184" actId="164"/>
          <ac:grpSpMkLst>
            <pc:docMk/>
            <pc:sldMk cId="2122089933" sldId="332"/>
            <ac:grpSpMk id="43" creationId="{22B4B049-F97E-FB1D-7681-05D569CA36A9}"/>
          </ac:grpSpMkLst>
        </pc:grpChg>
        <pc:picChg chg="del">
          <ac:chgData name="CHEN JINGSI" userId="2c6a6994-749a-46da-a9cf-6c6b6bb4c573" providerId="ADAL" clId="{AF9FF4B5-C0CB-AE41-A71D-39792613AE17}" dt="2023-05-08T16:56:01.385" v="84" actId="478"/>
          <ac:picMkLst>
            <pc:docMk/>
            <pc:sldMk cId="2122089933" sldId="332"/>
            <ac:picMk id="7" creationId="{C9CD3806-22D2-F7E6-34B4-B1DAB1631078}"/>
          </ac:picMkLst>
        </pc:picChg>
        <pc:picChg chg="del">
          <ac:chgData name="CHEN JINGSI" userId="2c6a6994-749a-46da-a9cf-6c6b6bb4c573" providerId="ADAL" clId="{AF9FF4B5-C0CB-AE41-A71D-39792613AE17}" dt="2023-05-08T16:56:12.700" v="91" actId="478"/>
          <ac:picMkLst>
            <pc:docMk/>
            <pc:sldMk cId="2122089933" sldId="332"/>
            <ac:picMk id="8" creationId="{874A6595-F889-4C7D-5031-A3FF7F5D2D2C}"/>
          </ac:picMkLst>
        </pc:picChg>
        <pc:picChg chg="del">
          <ac:chgData name="CHEN JINGSI" userId="2c6a6994-749a-46da-a9cf-6c6b6bb4c573" providerId="ADAL" clId="{AF9FF4B5-C0CB-AE41-A71D-39792613AE17}" dt="2023-05-08T16:57:45.762" v="93" actId="478"/>
          <ac:picMkLst>
            <pc:docMk/>
            <pc:sldMk cId="2122089933" sldId="332"/>
            <ac:picMk id="9" creationId="{BD944CE7-6DCE-241A-AFAC-D0EBBF83C959}"/>
          </ac:picMkLst>
        </pc:picChg>
        <pc:picChg chg="add mod">
          <ac:chgData name="CHEN JINGSI" userId="2c6a6994-749a-46da-a9cf-6c6b6bb4c573" providerId="ADAL" clId="{AF9FF4B5-C0CB-AE41-A71D-39792613AE17}" dt="2023-05-08T16:59:51.327" v="123" actId="164"/>
          <ac:picMkLst>
            <pc:docMk/>
            <pc:sldMk cId="2122089933" sldId="332"/>
            <ac:picMk id="19" creationId="{B129E8EB-2B65-98D7-A1AB-61A8360E856B}"/>
          </ac:picMkLst>
        </pc:picChg>
        <pc:picChg chg="add mod">
          <ac:chgData name="CHEN JINGSI" userId="2c6a6994-749a-46da-a9cf-6c6b6bb4c573" providerId="ADAL" clId="{AF9FF4B5-C0CB-AE41-A71D-39792613AE17}" dt="2023-05-08T16:59:51.327" v="123" actId="164"/>
          <ac:picMkLst>
            <pc:docMk/>
            <pc:sldMk cId="2122089933" sldId="332"/>
            <ac:picMk id="21" creationId="{8A12632C-1026-C1A4-BCF5-131CAC37B56F}"/>
          </ac:picMkLst>
        </pc:picChg>
        <pc:picChg chg="add mod">
          <ac:chgData name="CHEN JINGSI" userId="2c6a6994-749a-46da-a9cf-6c6b6bb4c573" providerId="ADAL" clId="{AF9FF4B5-C0CB-AE41-A71D-39792613AE17}" dt="2023-05-08T17:02:48.108" v="153" actId="164"/>
          <ac:picMkLst>
            <pc:docMk/>
            <pc:sldMk cId="2122089933" sldId="332"/>
            <ac:picMk id="23" creationId="{F718FF28-9BE1-3C8E-2444-78B2BEFC8974}"/>
          </ac:picMkLst>
        </pc:picChg>
        <pc:picChg chg="del">
          <ac:chgData name="CHEN JINGSI" userId="2c6a6994-749a-46da-a9cf-6c6b6bb4c573" providerId="ADAL" clId="{AF9FF4B5-C0CB-AE41-A71D-39792613AE17}" dt="2023-05-08T17:18:00.164" v="181" actId="478"/>
          <ac:picMkLst>
            <pc:docMk/>
            <pc:sldMk cId="2122089933" sldId="332"/>
            <ac:picMk id="1027" creationId="{BF4E4BBE-39DF-BD22-9022-9D98AC7A9891}"/>
          </ac:picMkLst>
        </pc:picChg>
        <pc:cxnChg chg="add mod">
          <ac:chgData name="CHEN JINGSI" userId="2c6a6994-749a-46da-a9cf-6c6b6bb4c573" providerId="ADAL" clId="{AF9FF4B5-C0CB-AE41-A71D-39792613AE17}" dt="2023-05-08T17:02:48.108" v="153" actId="164"/>
          <ac:cxnSpMkLst>
            <pc:docMk/>
            <pc:sldMk cId="2122089933" sldId="332"/>
            <ac:cxnSpMk id="28" creationId="{982A721A-C684-9111-8A56-2B39A5BB63BB}"/>
          </ac:cxnSpMkLst>
        </pc:cxnChg>
      </pc:sldChg>
      <pc:sldChg chg="addSp delSp modSp mod">
        <pc:chgData name="CHEN JINGSI" userId="2c6a6994-749a-46da-a9cf-6c6b6bb4c573" providerId="ADAL" clId="{AF9FF4B5-C0CB-AE41-A71D-39792613AE17}" dt="2023-05-08T18:25:20.781" v="1026" actId="20577"/>
        <pc:sldMkLst>
          <pc:docMk/>
          <pc:sldMk cId="3186716803" sldId="333"/>
        </pc:sldMkLst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8" creationId="{DB44674E-63F1-982D-A326-BE05ABE5632B}"/>
          </ac:spMkLst>
        </pc:spChg>
        <pc:spChg chg="mod">
          <ac:chgData name="CHEN JINGSI" userId="2c6a6994-749a-46da-a9cf-6c6b6bb4c573" providerId="ADAL" clId="{AF9FF4B5-C0CB-AE41-A71D-39792613AE17}" dt="2023-05-08T17:25:08.805" v="260" actId="20577"/>
          <ac:spMkLst>
            <pc:docMk/>
            <pc:sldMk cId="3186716803" sldId="333"/>
            <ac:spMk id="9" creationId="{AD94206B-D2FF-F8F2-7962-C91A5F87C936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10" creationId="{CDA7A7DE-3E0B-FB7D-BDF8-39231BE19419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11" creationId="{C7F127FA-B384-E1D0-7EBE-D1B52FA97175}"/>
          </ac:spMkLst>
        </pc:spChg>
        <pc:spChg chg="mod topLvl">
          <ac:chgData name="CHEN JINGSI" userId="2c6a6994-749a-46da-a9cf-6c6b6bb4c573" providerId="ADAL" clId="{AF9FF4B5-C0CB-AE41-A71D-39792613AE17}" dt="2023-05-08T18:25:20.781" v="1026" actId="20577"/>
          <ac:spMkLst>
            <pc:docMk/>
            <pc:sldMk cId="3186716803" sldId="333"/>
            <ac:spMk id="12" creationId="{44660892-6B30-B397-10B2-2FE20780FB29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13" creationId="{949EDC20-328D-A39A-79C1-92DCFABA71B6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14" creationId="{4EBE64E3-8CCC-281B-1DD0-7BF32F6D88DF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15" creationId="{15AB967F-F3AD-E264-227B-9B64E97B2E77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16" creationId="{B4F94093-BB98-3D34-56AC-77F4864F6D0E}"/>
          </ac:spMkLst>
        </pc:spChg>
        <pc:spChg chg="mod">
          <ac:chgData name="CHEN JINGSI" userId="2c6a6994-749a-46da-a9cf-6c6b6bb4c573" providerId="ADAL" clId="{AF9FF4B5-C0CB-AE41-A71D-39792613AE17}" dt="2023-05-08T17:25:04.725" v="256"/>
          <ac:spMkLst>
            <pc:docMk/>
            <pc:sldMk cId="3186716803" sldId="333"/>
            <ac:spMk id="17" creationId="{692E55C4-7E14-3E9C-D5F1-3EA6A8ED5BED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18" creationId="{1B4E443C-C866-8F19-2810-5E7680FC5623}"/>
          </ac:spMkLst>
        </pc:spChg>
        <pc:spChg chg="mod">
          <ac:chgData name="CHEN JINGSI" userId="2c6a6994-749a-46da-a9cf-6c6b6bb4c573" providerId="ADAL" clId="{AF9FF4B5-C0CB-AE41-A71D-39792613AE17}" dt="2023-05-08T17:20:23.568" v="208" actId="207"/>
          <ac:spMkLst>
            <pc:docMk/>
            <pc:sldMk cId="3186716803" sldId="333"/>
            <ac:spMk id="20" creationId="{AD12C484-C246-4DC8-4A4A-38837310FC4B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21" creationId="{F759ED8D-4A0F-83E6-05A7-372CF0C6B2F7}"/>
          </ac:spMkLst>
        </pc:spChg>
        <pc:spChg chg="add del mod">
          <ac:chgData name="CHEN JINGSI" userId="2c6a6994-749a-46da-a9cf-6c6b6bb4c573" providerId="ADAL" clId="{AF9FF4B5-C0CB-AE41-A71D-39792613AE17}" dt="2023-05-08T17:27:32.489" v="273" actId="478"/>
          <ac:spMkLst>
            <pc:docMk/>
            <pc:sldMk cId="3186716803" sldId="333"/>
            <ac:spMk id="23" creationId="{572914BD-3EEF-6459-FEBF-EDE93B004310}"/>
          </ac:spMkLst>
        </pc:spChg>
        <pc:spChg chg="add del mod">
          <ac:chgData name="CHEN JINGSI" userId="2c6a6994-749a-46da-a9cf-6c6b6bb4c573" providerId="ADAL" clId="{AF9FF4B5-C0CB-AE41-A71D-39792613AE17}" dt="2023-05-08T17:34:14.726" v="421" actId="478"/>
          <ac:spMkLst>
            <pc:docMk/>
            <pc:sldMk cId="3186716803" sldId="333"/>
            <ac:spMk id="24" creationId="{0C6EB116-4718-4D8B-AA22-E13A385AA293}"/>
          </ac:spMkLst>
        </pc:spChg>
        <pc:spChg chg="add mod topLvl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25" creationId="{6B3BFDE5-1ADE-4777-0A50-802BF2A9302F}"/>
          </ac:spMkLst>
        </pc:spChg>
        <pc:spChg chg="add mod topLvl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26" creationId="{2B61AA6B-16D9-9730-4671-B4E89228C7E0}"/>
          </ac:spMkLst>
        </pc:spChg>
        <pc:spChg chg="add del mod topLvl">
          <ac:chgData name="CHEN JINGSI" userId="2c6a6994-749a-46da-a9cf-6c6b6bb4c573" providerId="ADAL" clId="{AF9FF4B5-C0CB-AE41-A71D-39792613AE17}" dt="2023-05-08T17:47:02.796" v="564" actId="478"/>
          <ac:spMkLst>
            <pc:docMk/>
            <pc:sldMk cId="3186716803" sldId="333"/>
            <ac:spMk id="27" creationId="{4BD8BFFC-D06A-6974-AA72-63332779C2B8}"/>
          </ac:spMkLst>
        </pc:spChg>
        <pc:spChg chg="add mod topLvl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28" creationId="{662786DA-2790-44FA-6F83-E7E583E90A05}"/>
          </ac:spMkLst>
        </pc:spChg>
        <pc:spChg chg="add del mod">
          <ac:chgData name="CHEN JINGSI" userId="2c6a6994-749a-46da-a9cf-6c6b6bb4c573" providerId="ADAL" clId="{AF9FF4B5-C0CB-AE41-A71D-39792613AE17}" dt="2023-05-08T17:46:34.272" v="559" actId="21"/>
          <ac:spMkLst>
            <pc:docMk/>
            <pc:sldMk cId="3186716803" sldId="333"/>
            <ac:spMk id="29" creationId="{D8B56438-7AC4-2C00-689A-2E8CBB00410B}"/>
          </ac:spMkLst>
        </pc:spChg>
        <pc:spChg chg="add del mod">
          <ac:chgData name="CHEN JINGSI" userId="2c6a6994-749a-46da-a9cf-6c6b6bb4c573" providerId="ADAL" clId="{AF9FF4B5-C0CB-AE41-A71D-39792613AE17}" dt="2023-05-08T17:39:24.568" v="496" actId="478"/>
          <ac:spMkLst>
            <pc:docMk/>
            <pc:sldMk cId="3186716803" sldId="333"/>
            <ac:spMk id="30" creationId="{304607A2-25B3-AEB5-1413-B6D139838BE9}"/>
          </ac:spMkLst>
        </pc:spChg>
        <pc:spChg chg="add mod topLvl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31" creationId="{34D672B8-3B36-4D69-2BC5-EBD5F85D8074}"/>
          </ac:spMkLst>
        </pc:spChg>
        <pc:spChg chg="add del mod topLvl">
          <ac:chgData name="CHEN JINGSI" userId="2c6a6994-749a-46da-a9cf-6c6b6bb4c573" providerId="ADAL" clId="{AF9FF4B5-C0CB-AE41-A71D-39792613AE17}" dt="2023-05-08T17:47:10.265" v="567" actId="478"/>
          <ac:spMkLst>
            <pc:docMk/>
            <pc:sldMk cId="3186716803" sldId="333"/>
            <ac:spMk id="32" creationId="{B3783E5F-C4B2-1356-735A-A45386D597E6}"/>
          </ac:spMkLst>
        </pc:spChg>
        <pc:spChg chg="add mod">
          <ac:chgData name="CHEN JINGSI" userId="2c6a6994-749a-46da-a9cf-6c6b6bb4c573" providerId="ADAL" clId="{AF9FF4B5-C0CB-AE41-A71D-39792613AE17}" dt="2023-05-08T18:22:20.523" v="1015" actId="20577"/>
          <ac:spMkLst>
            <pc:docMk/>
            <pc:sldMk cId="3186716803" sldId="333"/>
            <ac:spMk id="35" creationId="{7BF936A6-6389-4615-85C1-3AD4F673D5FA}"/>
          </ac:spMkLst>
        </pc:spChg>
        <pc:spChg chg="add mod">
          <ac:chgData name="CHEN JINGSI" userId="2c6a6994-749a-46da-a9cf-6c6b6bb4c573" providerId="ADAL" clId="{AF9FF4B5-C0CB-AE41-A71D-39792613AE17}" dt="2023-05-08T18:19:28.052" v="984" actId="1076"/>
          <ac:spMkLst>
            <pc:docMk/>
            <pc:sldMk cId="3186716803" sldId="333"/>
            <ac:spMk id="37" creationId="{6A71061E-DD3D-9EDA-A9B4-425033F03885}"/>
          </ac:spMkLst>
        </pc:spChg>
        <pc:spChg chg="add del mod">
          <ac:chgData name="CHEN JINGSI" userId="2c6a6994-749a-46da-a9cf-6c6b6bb4c573" providerId="ADAL" clId="{AF9FF4B5-C0CB-AE41-A71D-39792613AE17}" dt="2023-05-08T17:47:48.359" v="575" actId="478"/>
          <ac:spMkLst>
            <pc:docMk/>
            <pc:sldMk cId="3186716803" sldId="333"/>
            <ac:spMk id="38" creationId="{C9E092B5-CDA9-617C-5F72-D7BEA3A32C69}"/>
          </ac:spMkLst>
        </pc:spChg>
        <pc:spChg chg="add mod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39" creationId="{CB132149-AB96-5977-CA43-AB089791D1D2}"/>
          </ac:spMkLst>
        </pc:spChg>
        <pc:spChg chg="add mod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40" creationId="{EFC70AB3-2CA2-F569-31C0-E9FDDDC76D1C}"/>
          </ac:spMkLst>
        </pc:spChg>
        <pc:spChg chg="add mod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41" creationId="{22F122FA-9C0A-4B0B-0274-7A598E4E6641}"/>
          </ac:spMkLst>
        </pc:spChg>
        <pc:spChg chg="add mod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42" creationId="{2B2CDAFE-992A-2FBA-0ED1-BD2D11E4D4CF}"/>
          </ac:spMkLst>
        </pc:spChg>
        <pc:spChg chg="add mod">
          <ac:chgData name="CHEN JINGSI" userId="2c6a6994-749a-46da-a9cf-6c6b6bb4c573" providerId="ADAL" clId="{AF9FF4B5-C0CB-AE41-A71D-39792613AE17}" dt="2023-05-08T18:19:31.247" v="985" actId="1076"/>
          <ac:spMkLst>
            <pc:docMk/>
            <pc:sldMk cId="3186716803" sldId="333"/>
            <ac:spMk id="43" creationId="{8CD5280F-22F8-3124-0A30-C945368D17F9}"/>
          </ac:spMkLst>
        </pc:spChg>
        <pc:spChg chg="add del mod">
          <ac:chgData name="CHEN JINGSI" userId="2c6a6994-749a-46da-a9cf-6c6b6bb4c573" providerId="ADAL" clId="{AF9FF4B5-C0CB-AE41-A71D-39792613AE17}" dt="2023-05-08T17:57:39.558" v="746" actId="478"/>
          <ac:spMkLst>
            <pc:docMk/>
            <pc:sldMk cId="3186716803" sldId="333"/>
            <ac:spMk id="46" creationId="{99A1B9CF-F17C-8468-82A2-F0466A69A418}"/>
          </ac:spMkLst>
        </pc:spChg>
        <pc:spChg chg="add mod">
          <ac:chgData name="CHEN JINGSI" userId="2c6a6994-749a-46da-a9cf-6c6b6bb4c573" providerId="ADAL" clId="{AF9FF4B5-C0CB-AE41-A71D-39792613AE17}" dt="2023-05-08T18:13:46.453" v="942" actId="20577"/>
          <ac:spMkLst>
            <pc:docMk/>
            <pc:sldMk cId="3186716803" sldId="333"/>
            <ac:spMk id="49" creationId="{EEA67609-A873-02A5-BD77-8A2992D5D21E}"/>
          </ac:spMkLst>
        </pc:spChg>
        <pc:spChg chg="add del mod">
          <ac:chgData name="CHEN JINGSI" userId="2c6a6994-749a-46da-a9cf-6c6b6bb4c573" providerId="ADAL" clId="{AF9FF4B5-C0CB-AE41-A71D-39792613AE17}" dt="2023-05-08T18:13:50.639" v="945"/>
          <ac:spMkLst>
            <pc:docMk/>
            <pc:sldMk cId="3186716803" sldId="333"/>
            <ac:spMk id="50" creationId="{8B20B25D-FF90-23EE-B7F5-70FEDC3BBF31}"/>
          </ac:spMkLst>
        </pc:spChg>
        <pc:grpChg chg="add mod">
          <ac:chgData name="CHEN JINGSI" userId="2c6a6994-749a-46da-a9cf-6c6b6bb4c573" providerId="ADAL" clId="{AF9FF4B5-C0CB-AE41-A71D-39792613AE17}" dt="2023-05-08T17:18:24.882" v="186"/>
          <ac:grpSpMkLst>
            <pc:docMk/>
            <pc:sldMk cId="3186716803" sldId="333"/>
            <ac:grpSpMk id="6" creationId="{348BE3D9-69BB-045E-D030-8B8048A56281}"/>
          </ac:grpSpMkLst>
        </pc:grpChg>
        <pc:grpChg chg="del">
          <ac:chgData name="CHEN JINGSI" userId="2c6a6994-749a-46da-a9cf-6c6b6bb4c573" providerId="ADAL" clId="{AF9FF4B5-C0CB-AE41-A71D-39792613AE17}" dt="2023-05-08T17:18:23.542" v="185" actId="478"/>
          <ac:grpSpMkLst>
            <pc:docMk/>
            <pc:sldMk cId="3186716803" sldId="333"/>
            <ac:grpSpMk id="7" creationId="{E0DEDD4B-E58C-F5F9-39C2-5F4070D02475}"/>
          </ac:grpSpMkLst>
        </pc:grpChg>
        <pc:grpChg chg="add del mod">
          <ac:chgData name="CHEN JINGSI" userId="2c6a6994-749a-46da-a9cf-6c6b6bb4c573" providerId="ADAL" clId="{AF9FF4B5-C0CB-AE41-A71D-39792613AE17}" dt="2023-05-08T17:44:38.285" v="546" actId="165"/>
          <ac:grpSpMkLst>
            <pc:docMk/>
            <pc:sldMk cId="3186716803" sldId="333"/>
            <ac:grpSpMk id="33" creationId="{A6FFCDB5-7631-927C-8D56-B6DA8F8FB5D9}"/>
          </ac:grpSpMkLst>
        </pc:grpChg>
        <pc:grpChg chg="add mod">
          <ac:chgData name="CHEN JINGSI" userId="2c6a6994-749a-46da-a9cf-6c6b6bb4c573" providerId="ADAL" clId="{AF9FF4B5-C0CB-AE41-A71D-39792613AE17}" dt="2023-05-08T18:18:35.478" v="975"/>
          <ac:grpSpMkLst>
            <pc:docMk/>
            <pc:sldMk cId="3186716803" sldId="333"/>
            <ac:grpSpMk id="36" creationId="{A8897EBB-7EAC-5D61-579D-BCF6DB0A9E8C}"/>
          </ac:grpSpMkLst>
        </pc:grpChg>
        <pc:grpChg chg="add mod">
          <ac:chgData name="CHEN JINGSI" userId="2c6a6994-749a-46da-a9cf-6c6b6bb4c573" providerId="ADAL" clId="{AF9FF4B5-C0CB-AE41-A71D-39792613AE17}" dt="2023-05-08T18:18:35.478" v="975"/>
          <ac:grpSpMkLst>
            <pc:docMk/>
            <pc:sldMk cId="3186716803" sldId="333"/>
            <ac:grpSpMk id="44" creationId="{422E8C5F-B9E7-3290-94C0-F8C718666052}"/>
          </ac:grpSpMkLst>
        </pc:grpChg>
        <pc:graphicFrameChg chg="del mod">
          <ac:chgData name="CHEN JINGSI" userId="2c6a6994-749a-46da-a9cf-6c6b6bb4c573" providerId="ADAL" clId="{AF9FF4B5-C0CB-AE41-A71D-39792613AE17}" dt="2023-05-08T17:57:34.771" v="745" actId="478"/>
          <ac:graphicFrameMkLst>
            <pc:docMk/>
            <pc:sldMk cId="3186716803" sldId="333"/>
            <ac:graphicFrameMk id="19" creationId="{1E6D77E0-7245-80A1-CC71-F6172631AAEF}"/>
          </ac:graphicFrameMkLst>
        </pc:graphicFrameChg>
        <pc:picChg chg="add mod">
          <ac:chgData name="CHEN JINGSI" userId="2c6a6994-749a-46da-a9cf-6c6b6bb4c573" providerId="ADAL" clId="{AF9FF4B5-C0CB-AE41-A71D-39792613AE17}" dt="2023-05-08T18:12:12.008" v="913" actId="1076"/>
          <ac:picMkLst>
            <pc:docMk/>
            <pc:sldMk cId="3186716803" sldId="333"/>
            <ac:picMk id="48" creationId="{5841F991-EB75-7765-3C21-B446BC05298A}"/>
          </ac:picMkLst>
        </pc:picChg>
      </pc:sldChg>
      <pc:sldChg chg="addSp delSp modSp mod">
        <pc:chgData name="CHEN JINGSI" userId="2c6a6994-749a-46da-a9cf-6c6b6bb4c573" providerId="ADAL" clId="{AF9FF4B5-C0CB-AE41-A71D-39792613AE17}" dt="2023-05-08T19:48:32.366" v="1190" actId="20577"/>
        <pc:sldMkLst>
          <pc:docMk/>
          <pc:sldMk cId="24899032" sldId="338"/>
        </pc:sldMkLst>
        <pc:spChg chg="del">
          <ac:chgData name="CHEN JINGSI" userId="2c6a6994-749a-46da-a9cf-6c6b6bb4c573" providerId="ADAL" clId="{AF9FF4B5-C0CB-AE41-A71D-39792613AE17}" dt="2023-05-08T17:18:36.146" v="188" actId="478"/>
          <ac:spMkLst>
            <pc:docMk/>
            <pc:sldMk cId="24899032" sldId="338"/>
            <ac:spMk id="5" creationId="{8BEB727A-1B3E-04F8-0D01-D825C864827B}"/>
          </ac:spMkLst>
        </pc:spChg>
        <pc:spChg chg="mod">
          <ac:chgData name="CHEN JINGSI" userId="2c6a6994-749a-46da-a9cf-6c6b6bb4c573" providerId="ADAL" clId="{AF9FF4B5-C0CB-AE41-A71D-39792613AE17}" dt="2023-05-08T19:33:43.823" v="1029" actId="1076"/>
          <ac:spMkLst>
            <pc:docMk/>
            <pc:sldMk cId="24899032" sldId="338"/>
            <ac:spMk id="6" creationId="{3CCC3C84-E348-3BEA-0AED-89D933D95A65}"/>
          </ac:spMkLst>
        </pc:spChg>
        <pc:spChg chg="del mod">
          <ac:chgData name="CHEN JINGSI" userId="2c6a6994-749a-46da-a9cf-6c6b6bb4c573" providerId="ADAL" clId="{AF9FF4B5-C0CB-AE41-A71D-39792613AE17}" dt="2023-05-08T19:33:39.614" v="1028" actId="478"/>
          <ac:spMkLst>
            <pc:docMk/>
            <pc:sldMk cId="24899032" sldId="338"/>
            <ac:spMk id="8" creationId="{3C6EC2B2-1D8A-1FB8-E24B-0DAAC5D5055C}"/>
          </ac:spMkLst>
        </pc:spChg>
        <pc:spChg chg="mod">
          <ac:chgData name="CHEN JINGSI" userId="2c6a6994-749a-46da-a9cf-6c6b6bb4c573" providerId="ADAL" clId="{AF9FF4B5-C0CB-AE41-A71D-39792613AE17}" dt="2023-05-08T19:33:47.803" v="1031" actId="1076"/>
          <ac:spMkLst>
            <pc:docMk/>
            <pc:sldMk cId="24899032" sldId="338"/>
            <ac:spMk id="9" creationId="{A7780947-0E2D-78A8-EB94-60C5B0743DC0}"/>
          </ac:spMkLst>
        </pc:spChg>
        <pc:spChg chg="mod">
          <ac:chgData name="CHEN JINGSI" userId="2c6a6994-749a-46da-a9cf-6c6b6bb4c573" providerId="ADAL" clId="{AF9FF4B5-C0CB-AE41-A71D-39792613AE17}" dt="2023-05-08T19:33:45.523" v="1030" actId="1076"/>
          <ac:spMkLst>
            <pc:docMk/>
            <pc:sldMk cId="24899032" sldId="338"/>
            <ac:spMk id="12" creationId="{CE7BA196-60F0-2B05-8FCC-6A0EFD5EC709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14" creationId="{BCA45D6C-44BD-744A-8A41-2B488B54F86E}"/>
          </ac:spMkLst>
        </pc:spChg>
        <pc:spChg chg="mod">
          <ac:chgData name="CHEN JINGSI" userId="2c6a6994-749a-46da-a9cf-6c6b6bb4c573" providerId="ADAL" clId="{AF9FF4B5-C0CB-AE41-A71D-39792613AE17}" dt="2023-05-08T17:24:55.684" v="254" actId="20577"/>
          <ac:spMkLst>
            <pc:docMk/>
            <pc:sldMk cId="24899032" sldId="338"/>
            <ac:spMk id="15" creationId="{3E0DABB7-01CE-62FA-6C59-DF9049F77D9C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16" creationId="{B7D32D9A-DADE-AB98-CFC3-CC9ACB57CE66}"/>
          </ac:spMkLst>
        </pc:spChg>
        <pc:spChg chg="mod">
          <ac:chgData name="CHEN JINGSI" userId="2c6a6994-749a-46da-a9cf-6c6b6bb4c573" providerId="ADAL" clId="{AF9FF4B5-C0CB-AE41-A71D-39792613AE17}" dt="2023-05-08T17:20:30.356" v="209" actId="207"/>
          <ac:spMkLst>
            <pc:docMk/>
            <pc:sldMk cId="24899032" sldId="338"/>
            <ac:spMk id="17" creationId="{3D406D8E-1A6C-70EC-7126-7EAEA28B7B23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18" creationId="{275927F6-39A3-1494-8D44-3A2DD363A1B8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19" creationId="{6F7475DB-23CE-EB00-E382-60D3B60B0946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20" creationId="{1DAF3D0F-A572-BA59-F888-76CA4984E386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21" creationId="{D783AC9B-027B-8924-CA29-4F8381B3599D}"/>
          </ac:spMkLst>
        </pc:spChg>
        <pc:spChg chg="mod">
          <ac:chgData name="CHEN JINGSI" userId="2c6a6994-749a-46da-a9cf-6c6b6bb4c573" providerId="ADAL" clId="{AF9FF4B5-C0CB-AE41-A71D-39792613AE17}" dt="2023-05-08T17:24:51.264" v="250"/>
          <ac:spMkLst>
            <pc:docMk/>
            <pc:sldMk cId="24899032" sldId="338"/>
            <ac:spMk id="22" creationId="{F7550B40-173E-84C8-2A34-522B8E9F4B41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23" creationId="{990D6325-6A46-F1BB-87B6-C8CE23A429A3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24" creationId="{04F83263-13C2-60A2-E2D8-A1692A9DCB44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25" creationId="{B59CFF0C-06E8-17E1-4E9A-D70FC81C83C2}"/>
          </ac:spMkLst>
        </pc:spChg>
        <pc:spChg chg="mod">
          <ac:chgData name="CHEN JINGSI" userId="2c6a6994-749a-46da-a9cf-6c6b6bb4c573" providerId="ADAL" clId="{AF9FF4B5-C0CB-AE41-A71D-39792613AE17}" dt="2023-05-08T19:45:44.164" v="1163" actId="20577"/>
          <ac:spMkLst>
            <pc:docMk/>
            <pc:sldMk cId="24899032" sldId="338"/>
            <ac:spMk id="28" creationId="{DFA9FCB5-0C15-2F9E-DA08-A0BA5E0AE23D}"/>
          </ac:spMkLst>
        </pc:spChg>
        <pc:spChg chg="del mod">
          <ac:chgData name="CHEN JINGSI" userId="2c6a6994-749a-46da-a9cf-6c6b6bb4c573" providerId="ADAL" clId="{AF9FF4B5-C0CB-AE41-A71D-39792613AE17}" dt="2023-05-08T19:35:36.252" v="1044" actId="478"/>
          <ac:spMkLst>
            <pc:docMk/>
            <pc:sldMk cId="24899032" sldId="338"/>
            <ac:spMk id="29" creationId="{0F193458-62BD-17C0-2291-61D358BCCEBC}"/>
          </ac:spMkLst>
        </pc:spChg>
        <pc:spChg chg="del mod">
          <ac:chgData name="CHEN JINGSI" userId="2c6a6994-749a-46da-a9cf-6c6b6bb4c573" providerId="ADAL" clId="{AF9FF4B5-C0CB-AE41-A71D-39792613AE17}" dt="2023-05-08T19:35:37.621" v="1045" actId="478"/>
          <ac:spMkLst>
            <pc:docMk/>
            <pc:sldMk cId="24899032" sldId="338"/>
            <ac:spMk id="30" creationId="{644D346C-8E11-1BE8-2779-51082E49E85E}"/>
          </ac:spMkLst>
        </pc:spChg>
        <pc:spChg chg="del mod">
          <ac:chgData name="CHEN JINGSI" userId="2c6a6994-749a-46da-a9cf-6c6b6bb4c573" providerId="ADAL" clId="{AF9FF4B5-C0CB-AE41-A71D-39792613AE17}" dt="2023-05-08T19:35:03.177" v="1037" actId="478"/>
          <ac:spMkLst>
            <pc:docMk/>
            <pc:sldMk cId="24899032" sldId="338"/>
            <ac:spMk id="31" creationId="{9000EC6B-4A17-78F7-DB64-8A074C4F6EBD}"/>
          </ac:spMkLst>
        </pc:spChg>
        <pc:spChg chg="mod">
          <ac:chgData name="CHEN JINGSI" userId="2c6a6994-749a-46da-a9cf-6c6b6bb4c573" providerId="ADAL" clId="{AF9FF4B5-C0CB-AE41-A71D-39792613AE17}" dt="2023-05-08T19:45:44.164" v="1163" actId="20577"/>
          <ac:spMkLst>
            <pc:docMk/>
            <pc:sldMk cId="24899032" sldId="338"/>
            <ac:spMk id="32" creationId="{8C711EA6-D4F4-CAAE-ACED-9E21066BB77C}"/>
          </ac:spMkLst>
        </pc:spChg>
        <pc:spChg chg="mod">
          <ac:chgData name="CHEN JINGSI" userId="2c6a6994-749a-46da-a9cf-6c6b6bb4c573" providerId="ADAL" clId="{AF9FF4B5-C0CB-AE41-A71D-39792613AE17}" dt="2023-05-08T19:47:02.959" v="1182" actId="20577"/>
          <ac:spMkLst>
            <pc:docMk/>
            <pc:sldMk cId="24899032" sldId="338"/>
            <ac:spMk id="33" creationId="{4FECA5D3-E5BA-727B-2F80-BE21A790464D}"/>
          </ac:spMkLst>
        </pc:spChg>
        <pc:spChg chg="mod">
          <ac:chgData name="CHEN JINGSI" userId="2c6a6994-749a-46da-a9cf-6c6b6bb4c573" providerId="ADAL" clId="{AF9FF4B5-C0CB-AE41-A71D-39792613AE17}" dt="2023-05-08T19:45:49.271" v="1164" actId="21"/>
          <ac:spMkLst>
            <pc:docMk/>
            <pc:sldMk cId="24899032" sldId="338"/>
            <ac:spMk id="34" creationId="{C1601AC1-9FA9-BD1E-EF96-6D1894948179}"/>
          </ac:spMkLst>
        </pc:spChg>
        <pc:spChg chg="del mod">
          <ac:chgData name="CHEN JINGSI" userId="2c6a6994-749a-46da-a9cf-6c6b6bb4c573" providerId="ADAL" clId="{AF9FF4B5-C0CB-AE41-A71D-39792613AE17}" dt="2023-05-08T19:35:33.989" v="1043" actId="478"/>
          <ac:spMkLst>
            <pc:docMk/>
            <pc:sldMk cId="24899032" sldId="338"/>
            <ac:spMk id="35" creationId="{BBA974B3-B734-DE5C-35FF-1303F54F2D67}"/>
          </ac:spMkLst>
        </pc:spChg>
        <pc:spChg chg="del mod">
          <ac:chgData name="CHEN JINGSI" userId="2c6a6994-749a-46da-a9cf-6c6b6bb4c573" providerId="ADAL" clId="{AF9FF4B5-C0CB-AE41-A71D-39792613AE17}" dt="2023-05-08T19:35:28.174" v="1042" actId="478"/>
          <ac:spMkLst>
            <pc:docMk/>
            <pc:sldMk cId="24899032" sldId="338"/>
            <ac:spMk id="36" creationId="{6237EEB7-E3CA-5EDA-BCD5-AB2523F3CFB6}"/>
          </ac:spMkLst>
        </pc:spChg>
        <pc:spChg chg="del mod">
          <ac:chgData name="CHEN JINGSI" userId="2c6a6994-749a-46da-a9cf-6c6b6bb4c573" providerId="ADAL" clId="{AF9FF4B5-C0CB-AE41-A71D-39792613AE17}" dt="2023-05-08T19:35:25.179" v="1041" actId="478"/>
          <ac:spMkLst>
            <pc:docMk/>
            <pc:sldMk cId="24899032" sldId="338"/>
            <ac:spMk id="37" creationId="{8EDB5049-75A3-A17D-6F9F-B14C020E218A}"/>
          </ac:spMkLst>
        </pc:spChg>
        <pc:spChg chg="del mod">
          <ac:chgData name="CHEN JINGSI" userId="2c6a6994-749a-46da-a9cf-6c6b6bb4c573" providerId="ADAL" clId="{AF9FF4B5-C0CB-AE41-A71D-39792613AE17}" dt="2023-05-08T19:35:38.723" v="1046" actId="478"/>
          <ac:spMkLst>
            <pc:docMk/>
            <pc:sldMk cId="24899032" sldId="338"/>
            <ac:spMk id="38" creationId="{6080604B-C1E1-5347-AD77-BEF072FC63ED}"/>
          </ac:spMkLst>
        </pc:spChg>
        <pc:spChg chg="add mod">
          <ac:chgData name="CHEN JINGSI" userId="2c6a6994-749a-46da-a9cf-6c6b6bb4c573" providerId="ADAL" clId="{AF9FF4B5-C0CB-AE41-A71D-39792613AE17}" dt="2023-05-08T19:45:55.278" v="1167" actId="21"/>
          <ac:spMkLst>
            <pc:docMk/>
            <pc:sldMk cId="24899032" sldId="338"/>
            <ac:spMk id="40" creationId="{C9E1D60A-A28C-AE66-FADB-380ECAEB47A3}"/>
          </ac:spMkLst>
        </pc:spChg>
        <pc:spChg chg="add mod">
          <ac:chgData name="CHEN JINGSI" userId="2c6a6994-749a-46da-a9cf-6c6b6bb4c573" providerId="ADAL" clId="{AF9FF4B5-C0CB-AE41-A71D-39792613AE17}" dt="2023-05-08T19:48:32.366" v="1190" actId="20577"/>
          <ac:spMkLst>
            <pc:docMk/>
            <pc:sldMk cId="24899032" sldId="338"/>
            <ac:spMk id="42" creationId="{940D8ECE-FD86-6788-66A0-DCCC250B835C}"/>
          </ac:spMkLst>
        </pc:spChg>
        <pc:spChg chg="add mod">
          <ac:chgData name="CHEN JINGSI" userId="2c6a6994-749a-46da-a9cf-6c6b6bb4c573" providerId="ADAL" clId="{AF9FF4B5-C0CB-AE41-A71D-39792613AE17}" dt="2023-05-08T19:47:34.438" v="1184" actId="1076"/>
          <ac:spMkLst>
            <pc:docMk/>
            <pc:sldMk cId="24899032" sldId="338"/>
            <ac:spMk id="43" creationId="{C3391B28-5B9E-2AE1-52B0-B18B14266ACB}"/>
          </ac:spMkLst>
        </pc:spChg>
        <pc:grpChg chg="add mod">
          <ac:chgData name="CHEN JINGSI" userId="2c6a6994-749a-46da-a9cf-6c6b6bb4c573" providerId="ADAL" clId="{AF9FF4B5-C0CB-AE41-A71D-39792613AE17}" dt="2023-05-08T17:18:36.455" v="189"/>
          <ac:grpSpMkLst>
            <pc:docMk/>
            <pc:sldMk cId="24899032" sldId="338"/>
            <ac:grpSpMk id="13" creationId="{4E0FF7C6-F0CE-E9AB-4367-A3A2364414E4}"/>
          </ac:grpSpMkLst>
        </pc:grpChg>
        <pc:grpChg chg="add del mod">
          <ac:chgData name="CHEN JINGSI" userId="2c6a6994-749a-46da-a9cf-6c6b6bb4c573" providerId="ADAL" clId="{AF9FF4B5-C0CB-AE41-A71D-39792613AE17}" dt="2023-05-08T19:45:44.164" v="1163" actId="20577"/>
          <ac:grpSpMkLst>
            <pc:docMk/>
            <pc:sldMk cId="24899032" sldId="338"/>
            <ac:grpSpMk id="26" creationId="{B1D181CC-764B-FE69-969D-364EBB641E7E}"/>
          </ac:grpSpMkLst>
        </pc:grpChg>
        <pc:grpChg chg="del mod">
          <ac:chgData name="CHEN JINGSI" userId="2c6a6994-749a-46da-a9cf-6c6b6bb4c573" providerId="ADAL" clId="{AF9FF4B5-C0CB-AE41-A71D-39792613AE17}" dt="2023-05-08T19:35:38.723" v="1046" actId="478"/>
          <ac:grpSpMkLst>
            <pc:docMk/>
            <pc:sldMk cId="24899032" sldId="338"/>
            <ac:grpSpMk id="27" creationId="{69FCD202-C8CA-9F9E-256C-DA1C594659A2}"/>
          </ac:grpSpMkLst>
        </pc:grpChg>
        <pc:picChg chg="del">
          <ac:chgData name="CHEN JINGSI" userId="2c6a6994-749a-46da-a9cf-6c6b6bb4c573" providerId="ADAL" clId="{AF9FF4B5-C0CB-AE41-A71D-39792613AE17}" dt="2023-05-08T16:55:04.252" v="82" actId="478"/>
          <ac:picMkLst>
            <pc:docMk/>
            <pc:sldMk cId="24899032" sldId="338"/>
            <ac:picMk id="10" creationId="{4935A675-210E-8737-EF37-4C29AB8C7494}"/>
          </ac:picMkLst>
        </pc:picChg>
        <pc:picChg chg="add mod">
          <ac:chgData name="CHEN JINGSI" userId="2c6a6994-749a-46da-a9cf-6c6b6bb4c573" providerId="ADAL" clId="{AF9FF4B5-C0CB-AE41-A71D-39792613AE17}" dt="2023-05-08T19:46:03.132" v="1170" actId="1076"/>
          <ac:picMkLst>
            <pc:docMk/>
            <pc:sldMk cId="24899032" sldId="338"/>
            <ac:picMk id="11" creationId="{3D218603-B7BB-E43D-30FD-6AF53E302303}"/>
          </ac:picMkLst>
        </pc:picChg>
        <pc:picChg chg="del">
          <ac:chgData name="CHEN JINGSI" userId="2c6a6994-749a-46da-a9cf-6c6b6bb4c573" providerId="ADAL" clId="{AF9FF4B5-C0CB-AE41-A71D-39792613AE17}" dt="2023-05-08T17:18:34.432" v="187" actId="478"/>
          <ac:picMkLst>
            <pc:docMk/>
            <pc:sldMk cId="24899032" sldId="338"/>
            <ac:picMk id="1027" creationId="{BF4E4BBE-39DF-BD22-9022-9D98AC7A9891}"/>
          </ac:picMkLst>
        </pc:picChg>
      </pc:sldChg>
      <pc:sldChg chg="del">
        <pc:chgData name="CHEN JINGSI" userId="2c6a6994-749a-46da-a9cf-6c6b6bb4c573" providerId="ADAL" clId="{AF9FF4B5-C0CB-AE41-A71D-39792613AE17}" dt="2023-05-08T18:23:28.614" v="1016" actId="2696"/>
        <pc:sldMkLst>
          <pc:docMk/>
          <pc:sldMk cId="1676410670" sldId="341"/>
        </pc:sldMkLst>
      </pc:sldChg>
      <pc:sldChg chg="addSp delSp modSp mod">
        <pc:chgData name="CHEN JINGSI" userId="2c6a6994-749a-46da-a9cf-6c6b6bb4c573" providerId="ADAL" clId="{AF9FF4B5-C0CB-AE41-A71D-39792613AE17}" dt="2023-05-08T17:24:44.503" v="249" actId="20577"/>
        <pc:sldMkLst>
          <pc:docMk/>
          <pc:sldMk cId="2933125713" sldId="352"/>
        </pc:sldMkLst>
        <pc:spChg chg="del">
          <ac:chgData name="CHEN JINGSI" userId="2c6a6994-749a-46da-a9cf-6c6b6bb4c573" providerId="ADAL" clId="{AF9FF4B5-C0CB-AE41-A71D-39792613AE17}" dt="2023-05-08T17:19:14.164" v="195" actId="478"/>
          <ac:spMkLst>
            <pc:docMk/>
            <pc:sldMk cId="2933125713" sldId="352"/>
            <ac:spMk id="5" creationId="{B3894667-DD93-BA1B-5A04-B68A79D3A23C}"/>
          </ac:spMkLst>
        </pc:spChg>
        <pc:spChg chg="del">
          <ac:chgData name="CHEN JINGSI" userId="2c6a6994-749a-46da-a9cf-6c6b6bb4c573" providerId="ADAL" clId="{AF9FF4B5-C0CB-AE41-A71D-39792613AE17}" dt="2023-05-08T17:19:15.156" v="196" actId="478"/>
          <ac:spMkLst>
            <pc:docMk/>
            <pc:sldMk cId="2933125713" sldId="352"/>
            <ac:spMk id="6" creationId="{87D10F91-1259-D273-DEAD-D69E55B338B8}"/>
          </ac:spMkLst>
        </pc:spChg>
        <pc:spChg chg="del">
          <ac:chgData name="CHEN JINGSI" userId="2c6a6994-749a-46da-a9cf-6c6b6bb4c573" providerId="ADAL" clId="{AF9FF4B5-C0CB-AE41-A71D-39792613AE17}" dt="2023-05-08T17:19:16.482" v="197" actId="478"/>
          <ac:spMkLst>
            <pc:docMk/>
            <pc:sldMk cId="2933125713" sldId="352"/>
            <ac:spMk id="7" creationId="{374EE802-F62D-0ABF-6FB1-FE3CE2FA0287}"/>
          </ac:spMkLst>
        </pc:spChg>
        <pc:spChg chg="del">
          <ac:chgData name="CHEN JINGSI" userId="2c6a6994-749a-46da-a9cf-6c6b6bb4c573" providerId="ADAL" clId="{AF9FF4B5-C0CB-AE41-A71D-39792613AE17}" dt="2023-05-08T17:19:13.289" v="194" actId="478"/>
          <ac:spMkLst>
            <pc:docMk/>
            <pc:sldMk cId="2933125713" sldId="352"/>
            <ac:spMk id="9" creationId="{11D82356-9A12-638A-3EDF-95199E10F17F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12" creationId="{3D10514A-7371-8AD3-6C82-1469E23CFB75}"/>
          </ac:spMkLst>
        </pc:spChg>
        <pc:spChg chg="mod">
          <ac:chgData name="CHEN JINGSI" userId="2c6a6994-749a-46da-a9cf-6c6b6bb4c573" providerId="ADAL" clId="{AF9FF4B5-C0CB-AE41-A71D-39792613AE17}" dt="2023-05-08T17:24:44.503" v="249" actId="20577"/>
          <ac:spMkLst>
            <pc:docMk/>
            <pc:sldMk cId="2933125713" sldId="352"/>
            <ac:spMk id="13" creationId="{D63B1E87-2B8B-688E-6902-40E1030CE8A9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14" creationId="{F3B98C6F-F6BE-CF9E-344E-3927A52DCB57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15" creationId="{40EE3100-FA61-1FB5-F038-AA1275CC41A8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16" creationId="{6DC723E8-DBA6-FCA1-6756-4314D3182F82}"/>
          </ac:spMkLst>
        </pc:spChg>
        <pc:spChg chg="mod">
          <ac:chgData name="CHEN JINGSI" userId="2c6a6994-749a-46da-a9cf-6c6b6bb4c573" providerId="ADAL" clId="{AF9FF4B5-C0CB-AE41-A71D-39792613AE17}" dt="2023-05-08T17:20:35.629" v="210" actId="207"/>
          <ac:spMkLst>
            <pc:docMk/>
            <pc:sldMk cId="2933125713" sldId="352"/>
            <ac:spMk id="25" creationId="{C71552A4-6B22-899A-7EA2-39CBBCC7F79B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26" creationId="{F175DFE9-AA77-CDC7-8634-DC90BCBAF7CA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27" creationId="{A32DB7B6-36EA-F1F4-0F51-B50EA5056D74}"/>
          </ac:spMkLst>
        </pc:spChg>
        <pc:spChg chg="mod">
          <ac:chgData name="CHEN JINGSI" userId="2c6a6994-749a-46da-a9cf-6c6b6bb4c573" providerId="ADAL" clId="{AF9FF4B5-C0CB-AE41-A71D-39792613AE17}" dt="2023-05-08T17:24:40.051" v="245"/>
          <ac:spMkLst>
            <pc:docMk/>
            <pc:sldMk cId="2933125713" sldId="352"/>
            <ac:spMk id="28" creationId="{7720DE1E-2C05-D4B1-3594-6D5111243BC6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29" creationId="{CBD73270-E8AC-3F02-86E1-FF0903239C6D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30" creationId="{7D35875D-9555-F2D4-155C-E7A105F2402A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31" creationId="{5E0CD1FB-AA91-82B0-9233-FE9A397BC974}"/>
          </ac:spMkLst>
        </pc:spChg>
        <pc:grpChg chg="add mod">
          <ac:chgData name="CHEN JINGSI" userId="2c6a6994-749a-46da-a9cf-6c6b6bb4c573" providerId="ADAL" clId="{AF9FF4B5-C0CB-AE41-A71D-39792613AE17}" dt="2023-05-08T17:18:52.621" v="193"/>
          <ac:grpSpMkLst>
            <pc:docMk/>
            <pc:sldMk cId="2933125713" sldId="352"/>
            <ac:grpSpMk id="10" creationId="{A1041C50-83F4-BF33-40D0-9BDEEDAC5CF4}"/>
          </ac:grpSpMkLst>
        </pc:grpChg>
        <pc:grpChg chg="del">
          <ac:chgData name="CHEN JINGSI" userId="2c6a6994-749a-46da-a9cf-6c6b6bb4c573" providerId="ADAL" clId="{AF9FF4B5-C0CB-AE41-A71D-39792613AE17}" dt="2023-05-08T17:18:51.473" v="192" actId="478"/>
          <ac:grpSpMkLst>
            <pc:docMk/>
            <pc:sldMk cId="2933125713" sldId="352"/>
            <ac:grpSpMk id="17" creationId="{89939196-28A1-DA5C-6324-217641584DD1}"/>
          </ac:grpSpMkLst>
        </pc:grpChg>
      </pc:sldChg>
      <pc:sldChg chg="addSp delSp modSp add mod">
        <pc:chgData name="CHEN JINGSI" userId="2c6a6994-749a-46da-a9cf-6c6b6bb4c573" providerId="ADAL" clId="{AF9FF4B5-C0CB-AE41-A71D-39792613AE17}" dt="2023-05-05T14:07:38.711" v="12" actId="2711"/>
        <pc:sldMkLst>
          <pc:docMk/>
          <pc:sldMk cId="2483509572" sldId="353"/>
        </pc:sldMkLst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7" creationId="{6F5BA6FF-DEDF-11BD-5EF9-99442F9EEDBE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8" creationId="{C7805EDE-2CDA-4683-94D1-5C6C803B2AFC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13" creationId="{91BB2B49-A0FB-5CA7-2A8A-E2E9889EDB23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14" creationId="{864749C1-3D2F-2FCC-516B-43D4B1C37E3B}"/>
          </ac:spMkLst>
        </pc:spChg>
        <pc:spChg chg="mod">
          <ac:chgData name="CHEN JINGSI" userId="2c6a6994-749a-46da-a9cf-6c6b6bb4c573" providerId="ADAL" clId="{AF9FF4B5-C0CB-AE41-A71D-39792613AE17}" dt="2023-05-05T14:06:38.704" v="2"/>
          <ac:spMkLst>
            <pc:docMk/>
            <pc:sldMk cId="2483509572" sldId="353"/>
            <ac:spMk id="15" creationId="{7E12E8AB-798C-A073-BCA6-2C5A739B378C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16" creationId="{332233EC-D658-0E6E-0814-2E7C1297AB05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17" creationId="{1204C667-E459-1351-BB95-1C2F40AA0733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18" creationId="{7223821C-E627-91A8-EC7A-9E394A522527}"/>
          </ac:spMkLst>
        </pc:spChg>
        <pc:spChg chg="mod">
          <ac:chgData name="CHEN JINGSI" userId="2c6a6994-749a-46da-a9cf-6c6b6bb4c573" providerId="ADAL" clId="{AF9FF4B5-C0CB-AE41-A71D-39792613AE17}" dt="2023-05-05T14:06:38.704" v="2"/>
          <ac:spMkLst>
            <pc:docMk/>
            <pc:sldMk cId="2483509572" sldId="353"/>
            <ac:spMk id="19" creationId="{CC1A68BA-B5BB-0766-DF0C-904C4523F0A0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0" creationId="{7C0B7B6D-C302-AE64-DA61-2CD76C527D34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1" creationId="{80ED32CB-A50B-D44D-B608-4C27E6CE475D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2" creationId="{86B2AE22-9117-1771-3ED3-272B06710B19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3" creationId="{47CDCE5F-4231-94FF-52BA-0F49F79CA6DA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4" creationId="{761CD4DF-4A91-7461-2372-0D4911618E9E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5" creationId="{13560560-5CEA-FD05-4B76-769F20E8117A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6" creationId="{4848F30E-8E86-ED13-78AE-449F85085BB3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7" creationId="{5A59FC02-180D-1906-98A5-74C77FE26671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8" creationId="{7C2D2B26-09FA-CF40-9B66-09D9FA9C6AC7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9" creationId="{17F6768C-6E57-D50A-1ECF-27E27E52CD6C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30" creationId="{C244B868-0D5E-FF65-B2F2-375627C77748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31" creationId="{BDE2468B-E777-6A71-0071-C6EEF7541D4A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32" creationId="{6B7882E7-F11E-3E74-AE72-B418E79847D5}"/>
          </ac:spMkLst>
        </pc:spChg>
        <pc:spChg chg="mod">
          <ac:chgData name="CHEN JINGSI" userId="2c6a6994-749a-46da-a9cf-6c6b6bb4c573" providerId="ADAL" clId="{AF9FF4B5-C0CB-AE41-A71D-39792613AE17}" dt="2023-05-05T14:06:38.704" v="2"/>
          <ac:spMkLst>
            <pc:docMk/>
            <pc:sldMk cId="2483509572" sldId="353"/>
            <ac:spMk id="33" creationId="{22E6C924-F939-7274-2DFD-D87F6546242E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34" creationId="{59FD256E-1449-F37D-0116-4AD68B590F85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35" creationId="{95E8A1D8-B9FC-2750-A456-9F3AEBFDE46E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36" creationId="{DC9A48F7-A3BA-DD33-6F27-CFA7919A32A3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37" creationId="{A6470270-C5FD-CB6C-15CD-49CB3F4ADD52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41" creationId="{FC60CCCA-6F13-0CF8-2746-2F05B5F0A935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42" creationId="{11666668-D822-D7EF-3E35-05FB4E7C05EF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47" creationId="{EF4B16EF-5F45-A298-21E3-B5195C2F70D7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48" creationId="{B5394598-EECD-CC95-0497-D8DC5C6E0499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49" creationId="{65A2A4DF-A330-2001-3A65-CED345332F63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0" creationId="{8F2F8447-9C85-DD62-6F6C-75C6A747D0C1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1" creationId="{0BE59546-F53E-35EB-5D28-F6CFEDD5AD9A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2" creationId="{53A41A96-A98E-C548-B22D-946F66C6D54B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3" creationId="{D79FF873-8984-278F-C06C-A586DEC16003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4" creationId="{814D936A-F2C8-4D75-A5F9-014CBB9EDAF7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5" creationId="{4A585407-FB1F-64B8-B44E-A0F07B246611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6" creationId="{5AC8526F-B6B1-4E23-8133-A405E54FF132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7" creationId="{013F0AC3-2221-DFD2-79F2-A31DCB44C4FC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8" creationId="{D73C59A6-1549-1888-6942-98207C4CE956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9" creationId="{FF562E0C-BDBB-EEED-4842-BD297557F91B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60" creationId="{913A5028-7E88-A510-9106-A31AA342C40F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61" creationId="{AABBB5EE-9263-9852-3F0F-91444D4442BC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62" creationId="{F245F66D-D38B-308F-758C-32CA748A6DFB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63" creationId="{96CB82AC-5D7F-8C11-AF42-8AA4866F5EC9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24" creationId="{45C3774D-2924-348E-3075-5865B294AE4C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25" creationId="{F4754853-EFDF-0902-ED43-701F3B73F1E9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26" creationId="{CA816B3B-9C65-8CE8-A624-6338E5346123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28" creationId="{D2482579-F16B-80ED-4BD2-B1342F291969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29" creationId="{FC14A9FB-584B-B120-3495-E7606A0FD142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30" creationId="{F83C4327-BC43-AF29-59C5-C72129F66455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31" creationId="{91802892-DC49-F1BC-4304-E75F189C0F32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32" creationId="{728DBFB4-BA4D-910A-A42D-AE63E680A32C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36" creationId="{C3BB732C-26CE-E733-92C9-ECE74C88D036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37" creationId="{6CB1A8C3-A564-70BF-1F92-25EB9B8DFDE1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42" creationId="{55907ECE-9957-1A45-62D4-1CEA4D43A2A2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43" creationId="{B46BDD96-DCA3-8D03-EFC5-092D231D6790}"/>
          </ac:spMkLst>
        </pc:spChg>
        <pc:spChg chg="mod">
          <ac:chgData name="CHEN JINGSI" userId="2c6a6994-749a-46da-a9cf-6c6b6bb4c573" providerId="ADAL" clId="{AF9FF4B5-C0CB-AE41-A71D-39792613AE17}" dt="2023-05-05T14:07:08.728" v="8"/>
          <ac:spMkLst>
            <pc:docMk/>
            <pc:sldMk cId="2483509572" sldId="353"/>
            <ac:spMk id="1044" creationId="{612AAF8F-780A-193D-E3E2-4B7A3892E080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45" creationId="{59FC4F46-8307-4A63-FE02-9567DAE91396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46" creationId="{E9B0C28F-5C4E-53CB-8B03-65B9E0EFC78C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47" creationId="{FAE84419-2D5D-27F2-C580-0A99A8B3B8CA}"/>
          </ac:spMkLst>
        </pc:spChg>
        <pc:spChg chg="mod">
          <ac:chgData name="CHEN JINGSI" userId="2c6a6994-749a-46da-a9cf-6c6b6bb4c573" providerId="ADAL" clId="{AF9FF4B5-C0CB-AE41-A71D-39792613AE17}" dt="2023-05-05T14:07:08.728" v="8"/>
          <ac:spMkLst>
            <pc:docMk/>
            <pc:sldMk cId="2483509572" sldId="353"/>
            <ac:spMk id="1048" creationId="{DA784D1D-875F-B492-9B66-4EF8B75BDACD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49" creationId="{55C63BC5-F295-3028-5BFF-62BAE1E31764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0" creationId="{EFA83225-C761-6301-F96E-E62602A86BD1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1" creationId="{2618FD21-9489-4D98-6F64-CC98231B476E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2" creationId="{FC4CCFC0-67F6-81BC-410C-4ED943A897CF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3" creationId="{5E861B2F-742B-5FC5-620F-9C7A59BD8642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4" creationId="{DE1DEC07-CDE0-4296-3FB8-E9635FFC4D12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5" creationId="{D22D35D2-D7BA-BFC0-5459-A835F14F609E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6" creationId="{55620A60-81E4-3ED9-C91E-E82ADBBCECB6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7" creationId="{EE87DCBA-B48D-F340-4C45-A18DEF289027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8" creationId="{678825A9-6145-9997-A357-338F7EF656DE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9" creationId="{908AAA04-0D9C-F37C-7A50-F7240FA28B58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60" creationId="{B218D93A-AAE5-04E6-14DB-7C4F3EE7BA58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61" creationId="{AB6D27B3-98C9-BBAF-C115-E8CAB5D3268A}"/>
          </ac:spMkLst>
        </pc:spChg>
        <pc:spChg chg="mod">
          <ac:chgData name="CHEN JINGSI" userId="2c6a6994-749a-46da-a9cf-6c6b6bb4c573" providerId="ADAL" clId="{AF9FF4B5-C0CB-AE41-A71D-39792613AE17}" dt="2023-05-05T14:07:08.728" v="8"/>
          <ac:spMkLst>
            <pc:docMk/>
            <pc:sldMk cId="2483509572" sldId="353"/>
            <ac:spMk id="1062" creationId="{4CEE84BE-5735-0E9F-2EE6-D3C80BDDB437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63" creationId="{69E13BD6-6B4D-CA2F-CB5B-066A42AB0CE7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64" creationId="{43C37818-D7E3-0F97-5BD1-75DB7215BE67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65" creationId="{BD87D06E-764B-6491-04F3-D8382E8F925F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66" creationId="{0EFCF6C0-8A48-3167-DC8D-4166688FF8FE}"/>
          </ac:spMkLst>
        </pc:spChg>
        <pc:grpChg chg="add del mod">
          <ac:chgData name="CHEN JINGSI" userId="2c6a6994-749a-46da-a9cf-6c6b6bb4c573" providerId="ADAL" clId="{AF9FF4B5-C0CB-AE41-A71D-39792613AE17}" dt="2023-05-05T14:07:04.582" v="5" actId="478"/>
          <ac:grpSpMkLst>
            <pc:docMk/>
            <pc:sldMk cId="2483509572" sldId="353"/>
            <ac:grpSpMk id="5" creationId="{A38187F0-5FF9-67AD-7158-5323FBC06EBF}"/>
          </ac:grpSpMkLst>
        </pc:grpChg>
        <pc:grpChg chg="mod">
          <ac:chgData name="CHEN JINGSI" userId="2c6a6994-749a-46da-a9cf-6c6b6bb4c573" providerId="ADAL" clId="{AF9FF4B5-C0CB-AE41-A71D-39792613AE17}" dt="2023-05-05T14:06:38.704" v="2"/>
          <ac:grpSpMkLst>
            <pc:docMk/>
            <pc:sldMk cId="2483509572" sldId="353"/>
            <ac:grpSpMk id="6" creationId="{B694FEFD-748F-CC15-A193-A2BE105F0E93}"/>
          </ac:grpSpMkLst>
        </pc:grpChg>
        <pc:grpChg chg="mod">
          <ac:chgData name="CHEN JINGSI" userId="2c6a6994-749a-46da-a9cf-6c6b6bb4c573" providerId="ADAL" clId="{AF9FF4B5-C0CB-AE41-A71D-39792613AE17}" dt="2023-05-05T14:06:38.704" v="2"/>
          <ac:grpSpMkLst>
            <pc:docMk/>
            <pc:sldMk cId="2483509572" sldId="353"/>
            <ac:grpSpMk id="9" creationId="{2789C108-B4BA-4291-F423-D98D2A7ED3DA}"/>
          </ac:grpSpMkLst>
        </pc:grpChg>
        <pc:grpChg chg="mod">
          <ac:chgData name="CHEN JINGSI" userId="2c6a6994-749a-46da-a9cf-6c6b6bb4c573" providerId="ADAL" clId="{AF9FF4B5-C0CB-AE41-A71D-39792613AE17}" dt="2023-05-05T14:06:38.704" v="2"/>
          <ac:grpSpMkLst>
            <pc:docMk/>
            <pc:sldMk cId="2483509572" sldId="353"/>
            <ac:grpSpMk id="10" creationId="{6F7A10D3-33C3-1761-7553-6677401E0279}"/>
          </ac:grpSpMkLst>
        </pc:grpChg>
        <pc:grpChg chg="mod">
          <ac:chgData name="CHEN JINGSI" userId="2c6a6994-749a-46da-a9cf-6c6b6bb4c573" providerId="ADAL" clId="{AF9FF4B5-C0CB-AE41-A71D-39792613AE17}" dt="2023-05-05T14:06:38.704" v="2"/>
          <ac:grpSpMkLst>
            <pc:docMk/>
            <pc:sldMk cId="2483509572" sldId="353"/>
            <ac:grpSpMk id="11" creationId="{D930FF9D-0EEB-53A6-37ED-275A303E53EA}"/>
          </ac:grpSpMkLst>
        </pc:grpChg>
        <pc:grpChg chg="mod">
          <ac:chgData name="CHEN JINGSI" userId="2c6a6994-749a-46da-a9cf-6c6b6bb4c573" providerId="ADAL" clId="{AF9FF4B5-C0CB-AE41-A71D-39792613AE17}" dt="2023-05-05T14:06:38.704" v="2"/>
          <ac:grpSpMkLst>
            <pc:docMk/>
            <pc:sldMk cId="2483509572" sldId="353"/>
            <ac:grpSpMk id="12" creationId="{391774CE-3766-A772-930F-96F382596394}"/>
          </ac:grpSpMkLst>
        </pc:grpChg>
        <pc:grpChg chg="add del mod">
          <ac:chgData name="CHEN JINGSI" userId="2c6a6994-749a-46da-a9cf-6c6b6bb4c573" providerId="ADAL" clId="{AF9FF4B5-C0CB-AE41-A71D-39792613AE17}" dt="2023-05-05T14:07:08.703" v="7"/>
          <ac:grpSpMkLst>
            <pc:docMk/>
            <pc:sldMk cId="2483509572" sldId="353"/>
            <ac:grpSpMk id="39" creationId="{7F0F14AD-9002-4527-085B-B9B0D3E07E05}"/>
          </ac:grpSpMkLst>
        </pc:grpChg>
        <pc:grpChg chg="mod">
          <ac:chgData name="CHEN JINGSI" userId="2c6a6994-749a-46da-a9cf-6c6b6bb4c573" providerId="ADAL" clId="{AF9FF4B5-C0CB-AE41-A71D-39792613AE17}" dt="2023-05-05T14:07:05.762" v="6"/>
          <ac:grpSpMkLst>
            <pc:docMk/>
            <pc:sldMk cId="2483509572" sldId="353"/>
            <ac:grpSpMk id="40" creationId="{ACC52CA1-3A3F-8C64-6E5A-7A01165413C3}"/>
          </ac:grpSpMkLst>
        </pc:grpChg>
        <pc:grpChg chg="mod">
          <ac:chgData name="CHEN JINGSI" userId="2c6a6994-749a-46da-a9cf-6c6b6bb4c573" providerId="ADAL" clId="{AF9FF4B5-C0CB-AE41-A71D-39792613AE17}" dt="2023-05-05T14:07:05.762" v="6"/>
          <ac:grpSpMkLst>
            <pc:docMk/>
            <pc:sldMk cId="2483509572" sldId="353"/>
            <ac:grpSpMk id="43" creationId="{6A7319D9-3B3B-EB4C-F1CA-D879DACDAB11}"/>
          </ac:grpSpMkLst>
        </pc:grpChg>
        <pc:grpChg chg="mod">
          <ac:chgData name="CHEN JINGSI" userId="2c6a6994-749a-46da-a9cf-6c6b6bb4c573" providerId="ADAL" clId="{AF9FF4B5-C0CB-AE41-A71D-39792613AE17}" dt="2023-05-05T14:07:05.762" v="6"/>
          <ac:grpSpMkLst>
            <pc:docMk/>
            <pc:sldMk cId="2483509572" sldId="353"/>
            <ac:grpSpMk id="44" creationId="{D2E71FDE-4F96-D833-8455-357F73B9F0EB}"/>
          </ac:grpSpMkLst>
        </pc:grpChg>
        <pc:grpChg chg="mod">
          <ac:chgData name="CHEN JINGSI" userId="2c6a6994-749a-46da-a9cf-6c6b6bb4c573" providerId="ADAL" clId="{AF9FF4B5-C0CB-AE41-A71D-39792613AE17}" dt="2023-05-05T14:07:05.762" v="6"/>
          <ac:grpSpMkLst>
            <pc:docMk/>
            <pc:sldMk cId="2483509572" sldId="353"/>
            <ac:grpSpMk id="45" creationId="{A4488FED-2DE4-4C1E-9F3A-46A287D53376}"/>
          </ac:grpSpMkLst>
        </pc:grpChg>
        <pc:grpChg chg="mod">
          <ac:chgData name="CHEN JINGSI" userId="2c6a6994-749a-46da-a9cf-6c6b6bb4c573" providerId="ADAL" clId="{AF9FF4B5-C0CB-AE41-A71D-39792613AE17}" dt="2023-05-05T14:07:05.762" v="6"/>
          <ac:grpSpMkLst>
            <pc:docMk/>
            <pc:sldMk cId="2483509572" sldId="353"/>
            <ac:grpSpMk id="46" creationId="{6E3BBDA6-ADD4-BE10-483E-B9E321669330}"/>
          </ac:grpSpMkLst>
        </pc:grpChg>
        <pc:grpChg chg="add mod">
          <ac:chgData name="CHEN JINGSI" userId="2c6a6994-749a-46da-a9cf-6c6b6bb4c573" providerId="ADAL" clId="{AF9FF4B5-C0CB-AE41-A71D-39792613AE17}" dt="2023-05-05T14:07:25.809" v="11" actId="1076"/>
          <ac:grpSpMkLst>
            <pc:docMk/>
            <pc:sldMk cId="2483509572" sldId="353"/>
            <ac:grpSpMk id="1034" creationId="{F25676D8-4C57-A038-31EF-C00A56C29F16}"/>
          </ac:grpSpMkLst>
        </pc:grpChg>
        <pc:grpChg chg="mod">
          <ac:chgData name="CHEN JINGSI" userId="2c6a6994-749a-46da-a9cf-6c6b6bb4c573" providerId="ADAL" clId="{AF9FF4B5-C0CB-AE41-A71D-39792613AE17}" dt="2023-05-05T14:07:08.728" v="8"/>
          <ac:grpSpMkLst>
            <pc:docMk/>
            <pc:sldMk cId="2483509572" sldId="353"/>
            <ac:grpSpMk id="1035" creationId="{85279276-95B9-0B01-1A31-6C6EB3A16969}"/>
          </ac:grpSpMkLst>
        </pc:grpChg>
        <pc:grpChg chg="mod">
          <ac:chgData name="CHEN JINGSI" userId="2c6a6994-749a-46da-a9cf-6c6b6bb4c573" providerId="ADAL" clId="{AF9FF4B5-C0CB-AE41-A71D-39792613AE17}" dt="2023-05-05T14:07:08.728" v="8"/>
          <ac:grpSpMkLst>
            <pc:docMk/>
            <pc:sldMk cId="2483509572" sldId="353"/>
            <ac:grpSpMk id="1038" creationId="{ADB9CB6C-0285-4B26-4886-CF14C4969E7F}"/>
          </ac:grpSpMkLst>
        </pc:grpChg>
        <pc:grpChg chg="mod">
          <ac:chgData name="CHEN JINGSI" userId="2c6a6994-749a-46da-a9cf-6c6b6bb4c573" providerId="ADAL" clId="{AF9FF4B5-C0CB-AE41-A71D-39792613AE17}" dt="2023-05-05T14:07:08.728" v="8"/>
          <ac:grpSpMkLst>
            <pc:docMk/>
            <pc:sldMk cId="2483509572" sldId="353"/>
            <ac:grpSpMk id="1039" creationId="{2C8B044E-4D02-626E-EF27-6BFABA33C0D1}"/>
          </ac:grpSpMkLst>
        </pc:grpChg>
        <pc:grpChg chg="mod">
          <ac:chgData name="CHEN JINGSI" userId="2c6a6994-749a-46da-a9cf-6c6b6bb4c573" providerId="ADAL" clId="{AF9FF4B5-C0CB-AE41-A71D-39792613AE17}" dt="2023-05-05T14:07:08.728" v="8"/>
          <ac:grpSpMkLst>
            <pc:docMk/>
            <pc:sldMk cId="2483509572" sldId="353"/>
            <ac:grpSpMk id="1040" creationId="{965377AB-12DA-98AD-C9A1-4E331B4A35A3}"/>
          </ac:grpSpMkLst>
        </pc:grpChg>
        <pc:grpChg chg="mod">
          <ac:chgData name="CHEN JINGSI" userId="2c6a6994-749a-46da-a9cf-6c6b6bb4c573" providerId="ADAL" clId="{AF9FF4B5-C0CB-AE41-A71D-39792613AE17}" dt="2023-05-05T14:07:08.728" v="8"/>
          <ac:grpSpMkLst>
            <pc:docMk/>
            <pc:sldMk cId="2483509572" sldId="353"/>
            <ac:grpSpMk id="1041" creationId="{5E407BD0-4133-6196-071E-3A340CB5F016}"/>
          </ac:grpSpMkLst>
        </pc:grpChg>
        <pc:picChg chg="mod">
          <ac:chgData name="CHEN JINGSI" userId="2c6a6994-749a-46da-a9cf-6c6b6bb4c573" providerId="ADAL" clId="{AF9FF4B5-C0CB-AE41-A71D-39792613AE17}" dt="2023-05-05T14:06:38.704" v="2"/>
          <ac:picMkLst>
            <pc:docMk/>
            <pc:sldMk cId="2483509572" sldId="353"/>
            <ac:picMk id="38" creationId="{4F4CAA2B-0A82-4E8A-A67B-11F828FA7C1D}"/>
          </ac:picMkLst>
        </pc:picChg>
        <pc:picChg chg="del">
          <ac:chgData name="CHEN JINGSI" userId="2c6a6994-749a-46da-a9cf-6c6b6bb4c573" providerId="ADAL" clId="{AF9FF4B5-C0CB-AE41-A71D-39792613AE17}" dt="2023-05-05T14:06:32.870" v="1" actId="478"/>
          <ac:picMkLst>
            <pc:docMk/>
            <pc:sldMk cId="2483509572" sldId="353"/>
            <ac:picMk id="1027" creationId="{BF4E4BBE-39DF-BD22-9022-9D98AC7A9891}"/>
          </ac:picMkLst>
        </pc:picChg>
        <pc:picChg chg="mod">
          <ac:chgData name="CHEN JINGSI" userId="2c6a6994-749a-46da-a9cf-6c6b6bb4c573" providerId="ADAL" clId="{AF9FF4B5-C0CB-AE41-A71D-39792613AE17}" dt="2023-05-05T14:07:05.762" v="6"/>
          <ac:picMkLst>
            <pc:docMk/>
            <pc:sldMk cId="2483509572" sldId="353"/>
            <ac:picMk id="1033" creationId="{5B5636FA-27A3-B39B-F1FE-D07F54E1DE1D}"/>
          </ac:picMkLst>
        </pc:picChg>
        <pc:picChg chg="mod">
          <ac:chgData name="CHEN JINGSI" userId="2c6a6994-749a-46da-a9cf-6c6b6bb4c573" providerId="ADAL" clId="{AF9FF4B5-C0CB-AE41-A71D-39792613AE17}" dt="2023-05-05T14:07:08.728" v="8"/>
          <ac:picMkLst>
            <pc:docMk/>
            <pc:sldMk cId="2483509572" sldId="353"/>
            <ac:picMk id="1067" creationId="{23A50DE1-E18D-3705-7CB6-37BAF65E80DD}"/>
          </ac:picMkLst>
        </pc:picChg>
      </pc:sldChg>
      <pc:sldChg chg="addSp delSp modSp add mod">
        <pc:chgData name="CHEN JINGSI" userId="2c6a6994-749a-46da-a9cf-6c6b6bb4c573" providerId="ADAL" clId="{AF9FF4B5-C0CB-AE41-A71D-39792613AE17}" dt="2023-05-08T17:24:05.649" v="244" actId="1035"/>
        <pc:sldMkLst>
          <pc:docMk/>
          <pc:sldMk cId="1887058106" sldId="354"/>
        </pc:sldMkLst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6" creationId="{961B8456-B59E-6EE2-6F0E-9F30D113E4A9}"/>
          </ac:spMkLst>
        </pc:spChg>
        <pc:spChg chg="mod">
          <ac:chgData name="CHEN JINGSI" userId="2c6a6994-749a-46da-a9cf-6c6b6bb4c573" providerId="ADAL" clId="{AF9FF4B5-C0CB-AE41-A71D-39792613AE17}" dt="2023-05-08T17:23:58.919" v="242" actId="1076"/>
          <ac:spMkLst>
            <pc:docMk/>
            <pc:sldMk cId="1887058106" sldId="354"/>
            <ac:spMk id="9" creationId="{9CF67051-C77F-48AE-22B6-C29BCB4154F4}"/>
          </ac:spMkLst>
        </pc:spChg>
        <pc:spChg chg="del mod">
          <ac:chgData name="CHEN JINGSI" userId="2c6a6994-749a-46da-a9cf-6c6b6bb4c573" providerId="ADAL" clId="{AF9FF4B5-C0CB-AE41-A71D-39792613AE17}" dt="2023-05-08T17:22:09.371" v="229" actId="478"/>
          <ac:spMkLst>
            <pc:docMk/>
            <pc:sldMk cId="1887058106" sldId="354"/>
            <ac:spMk id="11" creationId="{3E257E8D-D3C5-58DC-4C6C-2C9A765366EF}"/>
          </ac:spMkLst>
        </pc:spChg>
        <pc:spChg chg="mod">
          <ac:chgData name="CHEN JINGSI" userId="2c6a6994-749a-46da-a9cf-6c6b6bb4c573" providerId="ADAL" clId="{AF9FF4B5-C0CB-AE41-A71D-39792613AE17}" dt="2023-05-08T17:21:53.629" v="228" actId="20577"/>
          <ac:spMkLst>
            <pc:docMk/>
            <pc:sldMk cId="1887058106" sldId="354"/>
            <ac:spMk id="13" creationId="{D63B1E87-2B8B-688E-6902-40E1030CE8A9}"/>
          </ac:spMkLst>
        </pc:spChg>
        <pc:spChg chg="mod">
          <ac:chgData name="CHEN JINGSI" userId="2c6a6994-749a-46da-a9cf-6c6b6bb4c573" providerId="ADAL" clId="{AF9FF4B5-C0CB-AE41-A71D-39792613AE17}" dt="2023-05-08T17:24:05.649" v="244" actId="1035"/>
          <ac:spMkLst>
            <pc:docMk/>
            <pc:sldMk cId="1887058106" sldId="354"/>
            <ac:spMk id="17" creationId="{1DD1B5EB-E1B9-3C97-5D29-DD57D9FB7DC7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19" creationId="{67662312-B0C1-B807-8561-5E4C4314F610}"/>
          </ac:spMkLst>
        </pc:spChg>
        <pc:spChg chg="del">
          <ac:chgData name="CHEN JINGSI" userId="2c6a6994-749a-46da-a9cf-6c6b6bb4c573" providerId="ADAL" clId="{AF9FF4B5-C0CB-AE41-A71D-39792613AE17}" dt="2023-05-08T17:19:35.651" v="199" actId="478"/>
          <ac:spMkLst>
            <pc:docMk/>
            <pc:sldMk cId="1887058106" sldId="354"/>
            <ac:spMk id="20" creationId="{5A732ADD-4617-742E-6161-7698020CE6A7}"/>
          </ac:spMkLst>
        </pc:spChg>
        <pc:spChg chg="del">
          <ac:chgData name="CHEN JINGSI" userId="2c6a6994-749a-46da-a9cf-6c6b6bb4c573" providerId="ADAL" clId="{AF9FF4B5-C0CB-AE41-A71D-39792613AE17}" dt="2023-05-08T17:19:36.645" v="200" actId="478"/>
          <ac:spMkLst>
            <pc:docMk/>
            <pc:sldMk cId="1887058106" sldId="354"/>
            <ac:spMk id="21" creationId="{D693394B-146D-4319-E235-36E56F709B4D}"/>
          </ac:spMkLst>
        </pc:spChg>
        <pc:spChg chg="del">
          <ac:chgData name="CHEN JINGSI" userId="2c6a6994-749a-46da-a9cf-6c6b6bb4c573" providerId="ADAL" clId="{AF9FF4B5-C0CB-AE41-A71D-39792613AE17}" dt="2023-05-08T17:19:37.653" v="201" actId="478"/>
          <ac:spMkLst>
            <pc:docMk/>
            <pc:sldMk cId="1887058106" sldId="354"/>
            <ac:spMk id="22" creationId="{05B1B6B4-D7ED-29B7-EA52-59774D893794}"/>
          </ac:spMkLst>
        </pc:spChg>
        <pc:spChg chg="del">
          <ac:chgData name="CHEN JINGSI" userId="2c6a6994-749a-46da-a9cf-6c6b6bb4c573" providerId="ADAL" clId="{AF9FF4B5-C0CB-AE41-A71D-39792613AE17}" dt="2023-05-08T17:19:39.634" v="202" actId="478"/>
          <ac:spMkLst>
            <pc:docMk/>
            <pc:sldMk cId="1887058106" sldId="354"/>
            <ac:spMk id="23" creationId="{F5D5C057-F789-4BF1-2C4C-1D37C5B82BC9}"/>
          </ac:spMkLst>
        </pc:spChg>
        <pc:spChg chg="del">
          <ac:chgData name="CHEN JINGSI" userId="2c6a6994-749a-46da-a9cf-6c6b6bb4c573" providerId="ADAL" clId="{AF9FF4B5-C0CB-AE41-A71D-39792613AE17}" dt="2023-05-08T17:19:40.558" v="203" actId="478"/>
          <ac:spMkLst>
            <pc:docMk/>
            <pc:sldMk cId="1887058106" sldId="354"/>
            <ac:spMk id="24" creationId="{202A02B7-129D-CE60-1CE4-156F96A4E95E}"/>
          </ac:spMkLst>
        </pc:spChg>
        <pc:spChg chg="mod">
          <ac:chgData name="CHEN JINGSI" userId="2c6a6994-749a-46da-a9cf-6c6b6bb4c573" providerId="ADAL" clId="{AF9FF4B5-C0CB-AE41-A71D-39792613AE17}" dt="2023-05-08T17:21:45.409" v="224" actId="20577"/>
          <ac:spMkLst>
            <pc:docMk/>
            <pc:sldMk cId="1887058106" sldId="354"/>
            <ac:spMk id="28" creationId="{7720DE1E-2C05-D4B1-3594-6D5111243BC6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34" creationId="{539C960E-66E2-851C-E7F5-94FBA4AEE6E8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35" creationId="{CB7277A8-035A-E530-8473-19CA51867FF5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0" creationId="{AA9C757A-A3EF-165E-E157-0E116EA7A097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1" creationId="{CBA2100A-4819-B4BF-8162-371EDDDF8656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2" creationId="{53FEB166-BC85-4E97-2606-2717D005BDD5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3" creationId="{88BDF291-FBA7-42F4-09B9-A3D0D11AEB90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4" creationId="{D5F20DBB-6C46-34D9-AEAD-C39D607098F8}"/>
          </ac:spMkLst>
        </pc:spChg>
        <pc:spChg chg="mod">
          <ac:chgData name="CHEN JINGSI" userId="2c6a6994-749a-46da-a9cf-6c6b6bb4c573" providerId="ADAL" clId="{AF9FF4B5-C0CB-AE41-A71D-39792613AE17}" dt="2023-05-08T17:23:53.646" v="241" actId="1076"/>
          <ac:spMkLst>
            <pc:docMk/>
            <pc:sldMk cId="1887058106" sldId="354"/>
            <ac:spMk id="45" creationId="{B10404B8-A2D2-8EBF-30D2-4FB7355999AE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6" creationId="{4C01602D-42A7-8040-CFD2-262BAB45AF3B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7" creationId="{2AE1AB6B-5FDA-DCA3-8C10-E45A5E388EA8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8" creationId="{63AB10F8-8D23-3B8B-21F0-6421E48E4600}"/>
          </ac:spMkLst>
        </pc:spChg>
        <pc:spChg chg="mod">
          <ac:chgData name="CHEN JINGSI" userId="2c6a6994-749a-46da-a9cf-6c6b6bb4c573" providerId="ADAL" clId="{AF9FF4B5-C0CB-AE41-A71D-39792613AE17}" dt="2023-05-08T17:23:43.500" v="240" actId="1076"/>
          <ac:spMkLst>
            <pc:docMk/>
            <pc:sldMk cId="1887058106" sldId="354"/>
            <ac:spMk id="49" creationId="{F0CA68F0-F065-BFF2-0F2F-095BCDFBC5AF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50" creationId="{A74734B8-91C9-3DF0-CCE0-F73F78B10A5C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51" creationId="{CD27EAB3-F67E-DEB5-2D79-2A70187AD9F6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52" creationId="{EFE31B4B-2215-811F-34FC-5DDE6C6EF279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53" creationId="{DB814168-EA80-B6B5-6739-1F8AC6036BB4}"/>
          </ac:spMkLst>
        </pc:spChg>
        <pc:spChg chg="mod">
          <ac:chgData name="CHEN JINGSI" userId="2c6a6994-749a-46da-a9cf-6c6b6bb4c573" providerId="ADAL" clId="{AF9FF4B5-C0CB-AE41-A71D-39792613AE17}" dt="2023-05-08T17:23:38.117" v="239" actId="1076"/>
          <ac:spMkLst>
            <pc:docMk/>
            <pc:sldMk cId="1887058106" sldId="354"/>
            <ac:spMk id="54" creationId="{3B7352F6-353E-60DF-EE4D-7D8E89822E02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55" creationId="{DAA3C51D-0A6C-0410-25CF-CB50669E8634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56" creationId="{DC97AA49-F197-1471-35B4-617BF767465C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57" creationId="{38940853-D45A-05D0-E59F-E5601683E965}"/>
          </ac:spMkLst>
        </pc:spChg>
        <pc:spChg chg="mod">
          <ac:chgData name="CHEN JINGSI" userId="2c6a6994-749a-46da-a9cf-6c6b6bb4c573" providerId="ADAL" clId="{AF9FF4B5-C0CB-AE41-A71D-39792613AE17}" dt="2023-05-08T17:23:33.958" v="238" actId="1076"/>
          <ac:spMkLst>
            <pc:docMk/>
            <pc:sldMk cId="1887058106" sldId="354"/>
            <ac:spMk id="58" creationId="{A968D278-9775-7C05-C740-F9A6D21CC5DA}"/>
          </ac:spMkLst>
        </pc:spChg>
        <pc:grpChg chg="add mod">
          <ac:chgData name="CHEN JINGSI" userId="2c6a6994-749a-46da-a9cf-6c6b6bb4c573" providerId="ADAL" clId="{AF9FF4B5-C0CB-AE41-A71D-39792613AE17}" dt="2023-05-08T17:23:20.772" v="237" actId="1076"/>
          <ac:grpSpMkLst>
            <pc:docMk/>
            <pc:sldMk cId="1887058106" sldId="354"/>
            <ac:grpSpMk id="5" creationId="{0D88BFAA-EAFF-5165-FB85-8EF2B14EEEFA}"/>
          </ac:grpSpMkLst>
        </pc:grpChg>
        <pc:grpChg chg="mod">
          <ac:chgData name="CHEN JINGSI" userId="2c6a6994-749a-46da-a9cf-6c6b6bb4c573" providerId="ADAL" clId="{AF9FF4B5-C0CB-AE41-A71D-39792613AE17}" dt="2023-05-08T17:21:08.628" v="212"/>
          <ac:grpSpMkLst>
            <pc:docMk/>
            <pc:sldMk cId="1887058106" sldId="354"/>
            <ac:grpSpMk id="7" creationId="{F2A235A1-F79B-B918-35DC-FFF3E972C1AB}"/>
          </ac:grpSpMkLst>
        </pc:grpChg>
        <pc:grpChg chg="mod">
          <ac:chgData name="CHEN JINGSI" userId="2c6a6994-749a-46da-a9cf-6c6b6bb4c573" providerId="ADAL" clId="{AF9FF4B5-C0CB-AE41-A71D-39792613AE17}" dt="2023-05-08T17:21:08.628" v="212"/>
          <ac:grpSpMkLst>
            <pc:docMk/>
            <pc:sldMk cId="1887058106" sldId="354"/>
            <ac:grpSpMk id="18" creationId="{3C2EE207-B1E9-EEE9-E5CA-7AE184368EEE}"/>
          </ac:grpSpMkLst>
        </pc:grpChg>
        <pc:grpChg chg="mod">
          <ac:chgData name="CHEN JINGSI" userId="2c6a6994-749a-46da-a9cf-6c6b6bb4c573" providerId="ADAL" clId="{AF9FF4B5-C0CB-AE41-A71D-39792613AE17}" dt="2023-05-08T17:21:08.628" v="212"/>
          <ac:grpSpMkLst>
            <pc:docMk/>
            <pc:sldMk cId="1887058106" sldId="354"/>
            <ac:grpSpMk id="32" creationId="{D51B6DA8-7677-7417-5BE4-33099C2978F9}"/>
          </ac:grpSpMkLst>
        </pc:grpChg>
        <pc:grpChg chg="mod">
          <ac:chgData name="CHEN JINGSI" userId="2c6a6994-749a-46da-a9cf-6c6b6bb4c573" providerId="ADAL" clId="{AF9FF4B5-C0CB-AE41-A71D-39792613AE17}" dt="2023-05-08T17:21:08.628" v="212"/>
          <ac:grpSpMkLst>
            <pc:docMk/>
            <pc:sldMk cId="1887058106" sldId="354"/>
            <ac:grpSpMk id="36" creationId="{8040B7C4-1200-399F-D8E3-39D10AF6334C}"/>
          </ac:grpSpMkLst>
        </pc:grpChg>
        <pc:grpChg chg="mod">
          <ac:chgData name="CHEN JINGSI" userId="2c6a6994-749a-46da-a9cf-6c6b6bb4c573" providerId="ADAL" clId="{AF9FF4B5-C0CB-AE41-A71D-39792613AE17}" dt="2023-05-08T17:21:08.628" v="212"/>
          <ac:grpSpMkLst>
            <pc:docMk/>
            <pc:sldMk cId="1887058106" sldId="354"/>
            <ac:grpSpMk id="37" creationId="{C862EC8E-976B-C28D-2A3E-F11CFCA4F7E9}"/>
          </ac:grpSpMkLst>
        </pc:grpChg>
        <pc:grpChg chg="mod">
          <ac:chgData name="CHEN JINGSI" userId="2c6a6994-749a-46da-a9cf-6c6b6bb4c573" providerId="ADAL" clId="{AF9FF4B5-C0CB-AE41-A71D-39792613AE17}" dt="2023-05-08T17:21:08.628" v="212"/>
          <ac:grpSpMkLst>
            <pc:docMk/>
            <pc:sldMk cId="1887058106" sldId="354"/>
            <ac:grpSpMk id="38" creationId="{6A7D32B4-CC19-EDD8-7997-1FE8249FDC93}"/>
          </ac:grpSpMkLst>
        </pc:grpChg>
        <pc:grpChg chg="mod">
          <ac:chgData name="CHEN JINGSI" userId="2c6a6994-749a-46da-a9cf-6c6b6bb4c573" providerId="ADAL" clId="{AF9FF4B5-C0CB-AE41-A71D-39792613AE17}" dt="2023-05-08T17:21:08.628" v="212"/>
          <ac:grpSpMkLst>
            <pc:docMk/>
            <pc:sldMk cId="1887058106" sldId="354"/>
            <ac:grpSpMk id="39" creationId="{ABFF02F0-DA4D-E0ED-AE51-4D2D5AA7E9D5}"/>
          </ac:grpSpMkLst>
        </pc:grpChg>
        <pc:cxnChg chg="mod">
          <ac:chgData name="CHEN JINGSI" userId="2c6a6994-749a-46da-a9cf-6c6b6bb4c573" providerId="ADAL" clId="{AF9FF4B5-C0CB-AE41-A71D-39792613AE17}" dt="2023-05-08T17:21:08.628" v="212"/>
          <ac:cxnSpMkLst>
            <pc:docMk/>
            <pc:sldMk cId="1887058106" sldId="354"/>
            <ac:cxnSpMk id="33" creationId="{3F3DB4B3-F20C-7907-5259-BA88D099D0ED}"/>
          </ac:cxnSpMkLst>
        </pc:cxnChg>
      </pc:sldChg>
    </pc:docChg>
  </pc:docChgLst>
  <pc:docChgLst>
    <pc:chgData name="CHEN JINGSI" userId="S::s296135@studenti.polito.it::2c6a6994-749a-46da-a9cf-6c6b6bb4c573" providerId="AD" clId="Web-{9EBB6751-4530-4EE6-8891-E7F9B880C580}"/>
    <pc:docChg chg="addSld delSld modSld">
      <pc:chgData name="CHEN JINGSI" userId="S::s296135@studenti.polito.it::2c6a6994-749a-46da-a9cf-6c6b6bb4c573" providerId="AD" clId="Web-{9EBB6751-4530-4EE6-8891-E7F9B880C580}" dt="2023-05-17T11:40:14.708" v="8"/>
      <pc:docMkLst>
        <pc:docMk/>
      </pc:docMkLst>
      <pc:sldChg chg="del">
        <pc:chgData name="CHEN JINGSI" userId="S::s296135@studenti.polito.it::2c6a6994-749a-46da-a9cf-6c6b6bb4c573" providerId="AD" clId="Web-{9EBB6751-4530-4EE6-8891-E7F9B880C580}" dt="2023-05-17T11:37:30.155" v="2"/>
        <pc:sldMkLst>
          <pc:docMk/>
          <pc:sldMk cId="1887058106" sldId="354"/>
        </pc:sldMkLst>
      </pc:sldChg>
      <pc:sldChg chg="del">
        <pc:chgData name="CHEN JINGSI" userId="S::s296135@studenti.polito.it::2c6a6994-749a-46da-a9cf-6c6b6bb4c573" providerId="AD" clId="Web-{9EBB6751-4530-4EE6-8891-E7F9B880C580}" dt="2023-05-17T11:40:14.708" v="8"/>
        <pc:sldMkLst>
          <pc:docMk/>
          <pc:sldMk cId="2016988480" sldId="361"/>
        </pc:sldMkLst>
      </pc:sldChg>
      <pc:sldChg chg="del">
        <pc:chgData name="CHEN JINGSI" userId="S::s296135@studenti.polito.it::2c6a6994-749a-46da-a9cf-6c6b6bb4c573" providerId="AD" clId="Web-{9EBB6751-4530-4EE6-8891-E7F9B880C580}" dt="2023-05-17T11:37:34.874" v="3"/>
        <pc:sldMkLst>
          <pc:docMk/>
          <pc:sldMk cId="2477733356" sldId="363"/>
        </pc:sldMkLst>
      </pc:sldChg>
      <pc:sldChg chg="add">
        <pc:chgData name="CHEN JINGSI" userId="S::s296135@studenti.polito.it::2c6a6994-749a-46da-a9cf-6c6b6bb4c573" providerId="AD" clId="Web-{9EBB6751-4530-4EE6-8891-E7F9B880C580}" dt="2023-05-17T11:37:19.077" v="0"/>
        <pc:sldMkLst>
          <pc:docMk/>
          <pc:sldMk cId="565406761" sldId="364"/>
        </pc:sldMkLst>
      </pc:sldChg>
      <pc:sldChg chg="modSp add">
        <pc:chgData name="CHEN JINGSI" userId="S::s296135@studenti.polito.it::2c6a6994-749a-46da-a9cf-6c6b6bb4c573" providerId="AD" clId="Web-{9EBB6751-4530-4EE6-8891-E7F9B880C580}" dt="2023-05-17T11:37:46.750" v="6" actId="14100"/>
        <pc:sldMkLst>
          <pc:docMk/>
          <pc:sldMk cId="428395215" sldId="365"/>
        </pc:sldMkLst>
        <pc:spChg chg="mod">
          <ac:chgData name="CHEN JINGSI" userId="S::s296135@studenti.polito.it::2c6a6994-749a-46da-a9cf-6c6b6bb4c573" providerId="AD" clId="Web-{9EBB6751-4530-4EE6-8891-E7F9B880C580}" dt="2023-05-17T11:37:42.421" v="4" actId="14100"/>
          <ac:spMkLst>
            <pc:docMk/>
            <pc:sldMk cId="428395215" sldId="365"/>
            <ac:spMk id="61" creationId="{805979B4-BEC5-6D28-282E-E08C50D33D98}"/>
          </ac:spMkLst>
        </pc:spChg>
        <pc:spChg chg="mod">
          <ac:chgData name="CHEN JINGSI" userId="S::s296135@studenti.polito.it::2c6a6994-749a-46da-a9cf-6c6b6bb4c573" providerId="AD" clId="Web-{9EBB6751-4530-4EE6-8891-E7F9B880C580}" dt="2023-05-17T11:37:44.656" v="5" actId="14100"/>
          <ac:spMkLst>
            <pc:docMk/>
            <pc:sldMk cId="428395215" sldId="365"/>
            <ac:spMk id="68" creationId="{5E7C92F7-36D9-4BFC-1018-AA8BA2DD00E1}"/>
          </ac:spMkLst>
        </pc:spChg>
        <pc:spChg chg="mod">
          <ac:chgData name="CHEN JINGSI" userId="S::s296135@studenti.polito.it::2c6a6994-749a-46da-a9cf-6c6b6bb4c573" providerId="AD" clId="Web-{9EBB6751-4530-4EE6-8891-E7F9B880C580}" dt="2023-05-17T11:37:46.750" v="6" actId="14100"/>
          <ac:spMkLst>
            <pc:docMk/>
            <pc:sldMk cId="428395215" sldId="365"/>
            <ac:spMk id="73" creationId="{23535A03-839F-95CC-7E9A-580E00148811}"/>
          </ac:spMkLst>
        </pc:spChg>
      </pc:sldChg>
      <pc:sldChg chg="add">
        <pc:chgData name="CHEN JINGSI" userId="S::s296135@studenti.polito.it::2c6a6994-749a-46da-a9cf-6c6b6bb4c573" providerId="AD" clId="Web-{9EBB6751-4530-4EE6-8891-E7F9B880C580}" dt="2023-05-17T11:39:55.332" v="7"/>
        <pc:sldMkLst>
          <pc:docMk/>
          <pc:sldMk cId="1781359573" sldId="366"/>
        </pc:sldMkLst>
      </pc:sldChg>
    </pc:docChg>
  </pc:docChgLst>
  <pc:docChgLst>
    <pc:chgData name="HUANG LIN" userId="S::s301266@studenti.polito.it::1b5dcee7-0d99-405d-a0f0-637f14b99ad0" providerId="AD" clId="Web-{B28A5127-EBC5-4877-81CE-36EF7783919F}"/>
    <pc:docChg chg="modSld">
      <pc:chgData name="HUANG LIN" userId="S::s301266@studenti.polito.it::1b5dcee7-0d99-405d-a0f0-637f14b99ad0" providerId="AD" clId="Web-{B28A5127-EBC5-4877-81CE-36EF7783919F}" dt="2023-05-08T23:22:11.908" v="37" actId="1076"/>
      <pc:docMkLst>
        <pc:docMk/>
      </pc:docMkLst>
      <pc:sldChg chg="addSp delSp modSp">
        <pc:chgData name="HUANG LIN" userId="S::s301266@studenti.polito.it::1b5dcee7-0d99-405d-a0f0-637f14b99ad0" providerId="AD" clId="Web-{B28A5127-EBC5-4877-81CE-36EF7783919F}" dt="2023-05-08T23:22:11.908" v="37" actId="1076"/>
        <pc:sldMkLst>
          <pc:docMk/>
          <pc:sldMk cId="598547174" sldId="348"/>
        </pc:sldMkLst>
        <pc:spChg chg="mod">
          <ac:chgData name="HUANG LIN" userId="S::s301266@studenti.polito.it::1b5dcee7-0d99-405d-a0f0-637f14b99ad0" providerId="AD" clId="Web-{B28A5127-EBC5-4877-81CE-36EF7783919F}" dt="2023-05-08T23:21:52.782" v="32" actId="20577"/>
          <ac:spMkLst>
            <pc:docMk/>
            <pc:sldMk cId="598547174" sldId="348"/>
            <ac:spMk id="2" creationId="{5DC741E7-F1D6-B009-10CF-6058F6D0A583}"/>
          </ac:spMkLst>
        </pc:spChg>
        <pc:picChg chg="add mod">
          <ac:chgData name="HUANG LIN" userId="S::s301266@studenti.polito.it::1b5dcee7-0d99-405d-a0f0-637f14b99ad0" providerId="AD" clId="Web-{B28A5127-EBC5-4877-81CE-36EF7783919F}" dt="2023-05-08T23:22:11.908" v="37" actId="1076"/>
          <ac:picMkLst>
            <pc:docMk/>
            <pc:sldMk cId="598547174" sldId="348"/>
            <ac:picMk id="3" creationId="{0E7264EE-AABE-8B12-EAE3-72238A849DB2}"/>
          </ac:picMkLst>
        </pc:picChg>
        <pc:picChg chg="del mod">
          <ac:chgData name="HUANG LIN" userId="S::s301266@studenti.polito.it::1b5dcee7-0d99-405d-a0f0-637f14b99ad0" providerId="AD" clId="Web-{B28A5127-EBC5-4877-81CE-36EF7783919F}" dt="2023-05-08T23:18:59.215" v="2"/>
          <ac:picMkLst>
            <pc:docMk/>
            <pc:sldMk cId="598547174" sldId="348"/>
            <ac:picMk id="15" creationId="{468E46B9-A2FD-2003-029B-428616E5D854}"/>
          </ac:picMkLst>
        </pc:picChg>
      </pc:sldChg>
    </pc:docChg>
  </pc:docChgLst>
  <pc:docChgLst>
    <pc:chgData name="CHEN JINGSI" userId="S::s296135@studenti.polito.it::2c6a6994-749a-46da-a9cf-6c6b6bb4c573" providerId="AD" clId="Web-{F6489441-1951-49E1-97F4-8F24156F1052}"/>
    <pc:docChg chg="addSld delSld modSld">
      <pc:chgData name="CHEN JINGSI" userId="S::s296135@studenti.polito.it::2c6a6994-749a-46da-a9cf-6c6b6bb4c573" providerId="AD" clId="Web-{F6489441-1951-49E1-97F4-8F24156F1052}" dt="2023-05-16T18:11:42.374" v="32" actId="1076"/>
      <pc:docMkLst>
        <pc:docMk/>
      </pc:docMkLst>
      <pc:sldChg chg="modSp">
        <pc:chgData name="CHEN JINGSI" userId="S::s296135@studenti.polito.it::2c6a6994-749a-46da-a9cf-6c6b6bb4c573" providerId="AD" clId="Web-{F6489441-1951-49E1-97F4-8F24156F1052}" dt="2023-05-16T18:11:42.374" v="32" actId="1076"/>
        <pc:sldMkLst>
          <pc:docMk/>
          <pc:sldMk cId="2933125713" sldId="352"/>
        </pc:sldMkLst>
        <pc:spChg chg="mod">
          <ac:chgData name="CHEN JINGSI" userId="S::s296135@studenti.polito.it::2c6a6994-749a-46da-a9cf-6c6b6bb4c573" providerId="AD" clId="Web-{F6489441-1951-49E1-97F4-8F24156F1052}" dt="2023-05-16T18:11:42.374" v="32" actId="1076"/>
          <ac:spMkLst>
            <pc:docMk/>
            <pc:sldMk cId="2933125713" sldId="352"/>
            <ac:spMk id="48" creationId="{DD3B73DD-01C2-3793-024E-7E98B232AE2C}"/>
          </ac:spMkLst>
        </pc:spChg>
        <pc:grpChg chg="mod">
          <ac:chgData name="CHEN JINGSI" userId="S::s296135@studenti.polito.it::2c6a6994-749a-46da-a9cf-6c6b6bb4c573" providerId="AD" clId="Web-{F6489441-1951-49E1-97F4-8F24156F1052}" dt="2023-05-16T18:11:24.796" v="31" actId="1076"/>
          <ac:grpSpMkLst>
            <pc:docMk/>
            <pc:sldMk cId="2933125713" sldId="352"/>
            <ac:grpSpMk id="53" creationId="{A4C62DBC-8C47-AF6F-E233-9D4CD38B4022}"/>
          </ac:grpSpMkLst>
        </pc:grpChg>
      </pc:sldChg>
      <pc:sldChg chg="addSp delSp modSp del">
        <pc:chgData name="CHEN JINGSI" userId="S::s296135@studenti.polito.it::2c6a6994-749a-46da-a9cf-6c6b6bb4c573" providerId="AD" clId="Web-{F6489441-1951-49E1-97F4-8F24156F1052}" dt="2023-05-16T18:02:15.906" v="26"/>
        <pc:sldMkLst>
          <pc:docMk/>
          <pc:sldMk cId="1904998559" sldId="357"/>
        </pc:sldMkLst>
        <pc:picChg chg="mod">
          <ac:chgData name="CHEN JINGSI" userId="S::s296135@studenti.polito.it::2c6a6994-749a-46da-a9cf-6c6b6bb4c573" providerId="AD" clId="Web-{F6489441-1951-49E1-97F4-8F24156F1052}" dt="2023-05-16T17:57:49.337" v="24" actId="1076"/>
          <ac:picMkLst>
            <pc:docMk/>
            <pc:sldMk cId="1904998559" sldId="357"/>
            <ac:picMk id="5" creationId="{4121424B-A53C-054F-2FD3-327174D22144}"/>
          </ac:picMkLst>
        </pc:picChg>
        <pc:picChg chg="mod">
          <ac:chgData name="CHEN JINGSI" userId="S::s296135@studenti.polito.it::2c6a6994-749a-46da-a9cf-6c6b6bb4c573" providerId="AD" clId="Web-{F6489441-1951-49E1-97F4-8F24156F1052}" dt="2023-05-16T17:57:06.820" v="12" actId="1076"/>
          <ac:picMkLst>
            <pc:docMk/>
            <pc:sldMk cId="1904998559" sldId="357"/>
            <ac:picMk id="6" creationId="{A0E00ADA-565B-1D28-0FAD-19299323A3CB}"/>
          </ac:picMkLst>
        </pc:picChg>
        <pc:picChg chg="mod">
          <ac:chgData name="CHEN JINGSI" userId="S::s296135@studenti.polito.it::2c6a6994-749a-46da-a9cf-6c6b6bb4c573" providerId="AD" clId="Web-{F6489441-1951-49E1-97F4-8F24156F1052}" dt="2023-05-16T17:57:25.602" v="19" actId="1076"/>
          <ac:picMkLst>
            <pc:docMk/>
            <pc:sldMk cId="1904998559" sldId="357"/>
            <ac:picMk id="7" creationId="{E4C36C59-DFF4-DCBB-86E3-15551ED736EC}"/>
          </ac:picMkLst>
        </pc:picChg>
        <pc:picChg chg="add del mod">
          <ac:chgData name="CHEN JINGSI" userId="S::s296135@studenti.polito.it::2c6a6994-749a-46da-a9cf-6c6b6bb4c573" providerId="AD" clId="Web-{F6489441-1951-49E1-97F4-8F24156F1052}" dt="2023-05-16T17:57:27.180" v="20"/>
          <ac:picMkLst>
            <pc:docMk/>
            <pc:sldMk cId="1904998559" sldId="357"/>
            <ac:picMk id="8" creationId="{A5CBD001-C8DB-2F4A-7F5A-DFB64AF4C1F0}"/>
          </ac:picMkLst>
        </pc:picChg>
        <pc:picChg chg="add mod">
          <ac:chgData name="CHEN JINGSI" userId="S::s296135@studenti.polito.it::2c6a6994-749a-46da-a9cf-6c6b6bb4c573" providerId="AD" clId="Web-{F6489441-1951-49E1-97F4-8F24156F1052}" dt="2023-05-16T17:57:20.570" v="17" actId="1076"/>
          <ac:picMkLst>
            <pc:docMk/>
            <pc:sldMk cId="1904998559" sldId="357"/>
            <ac:picMk id="9" creationId="{6C796ABC-97BB-EDE6-638C-11D4F595B4EC}"/>
          </ac:picMkLst>
        </pc:picChg>
        <pc:picChg chg="add del mod">
          <ac:chgData name="CHEN JINGSI" userId="S::s296135@studenti.polito.it::2c6a6994-749a-46da-a9cf-6c6b6bb4c573" providerId="AD" clId="Web-{F6489441-1951-49E1-97F4-8F24156F1052}" dt="2023-05-16T17:56:54.117" v="9"/>
          <ac:picMkLst>
            <pc:docMk/>
            <pc:sldMk cId="1904998559" sldId="357"/>
            <ac:picMk id="11" creationId="{8AE707F7-D6F5-20F4-2FC9-4B2BEC61B226}"/>
          </ac:picMkLst>
        </pc:picChg>
        <pc:picChg chg="add mod">
          <ac:chgData name="CHEN JINGSI" userId="S::s296135@studenti.polito.it::2c6a6994-749a-46da-a9cf-6c6b6bb4c573" providerId="AD" clId="Web-{F6489441-1951-49E1-97F4-8F24156F1052}" dt="2023-05-16T17:57:41.993" v="23"/>
          <ac:picMkLst>
            <pc:docMk/>
            <pc:sldMk cId="1904998559" sldId="357"/>
            <ac:picMk id="17" creationId="{718B87E0-2CFC-48BE-FD80-334D8559FD8B}"/>
          </ac:picMkLst>
        </pc:picChg>
      </pc:sldChg>
      <pc:sldChg chg="modSp add">
        <pc:chgData name="CHEN JINGSI" userId="S::s296135@studenti.polito.it::2c6a6994-749a-46da-a9cf-6c6b6bb4c573" providerId="AD" clId="Web-{F6489441-1951-49E1-97F4-8F24156F1052}" dt="2023-05-16T18:10:03.653" v="29" actId="1076"/>
        <pc:sldMkLst>
          <pc:docMk/>
          <pc:sldMk cId="3335901182" sldId="360"/>
        </pc:sldMkLst>
        <pc:picChg chg="mod">
          <ac:chgData name="CHEN JINGSI" userId="S::s296135@studenti.polito.it::2c6a6994-749a-46da-a9cf-6c6b6bb4c573" providerId="AD" clId="Web-{F6489441-1951-49E1-97F4-8F24156F1052}" dt="2023-05-16T18:10:03.653" v="29" actId="1076"/>
          <ac:picMkLst>
            <pc:docMk/>
            <pc:sldMk cId="3335901182" sldId="360"/>
            <ac:picMk id="5" creationId="{4121424B-A53C-054F-2FD3-327174D22144}"/>
          </ac:picMkLst>
        </pc:picChg>
      </pc:sldChg>
    </pc:docChg>
  </pc:docChgLst>
  <pc:docChgLst>
    <pc:chgData name="HUANG LIN" userId="S::s301266@studenti.polito.it::1b5dcee7-0d99-405d-a0f0-637f14b99ad0" providerId="AD" clId="Web-{B96F5978-0933-491F-8D6F-D680E1181F89}"/>
    <pc:docChg chg="addSld modSld">
      <pc:chgData name="HUANG LIN" userId="S::s301266@studenti.polito.it::1b5dcee7-0d99-405d-a0f0-637f14b99ad0" providerId="AD" clId="Web-{B96F5978-0933-491F-8D6F-D680E1181F89}" dt="2023-05-09T00:00:10.663" v="195" actId="1076"/>
      <pc:docMkLst>
        <pc:docMk/>
      </pc:docMkLst>
      <pc:sldChg chg="addSp delSp modSp">
        <pc:chgData name="HUANG LIN" userId="S::s301266@studenti.polito.it::1b5dcee7-0d99-405d-a0f0-637f14b99ad0" providerId="AD" clId="Web-{B96F5978-0933-491F-8D6F-D680E1181F89}" dt="2023-05-09T00:00:10.663" v="195" actId="1076"/>
        <pc:sldMkLst>
          <pc:docMk/>
          <pc:sldMk cId="598547174" sldId="348"/>
        </pc:sldMkLst>
        <pc:spChg chg="del">
          <ac:chgData name="HUANG LIN" userId="S::s301266@studenti.polito.it::1b5dcee7-0d99-405d-a0f0-637f14b99ad0" providerId="AD" clId="Web-{B96F5978-0933-491F-8D6F-D680E1181F89}" dt="2023-05-08T23:27:03.276" v="16"/>
          <ac:spMkLst>
            <pc:docMk/>
            <pc:sldMk cId="598547174" sldId="348"/>
            <ac:spMk id="2" creationId="{5DC741E7-F1D6-B009-10CF-6058F6D0A583}"/>
          </ac:spMkLst>
        </pc:spChg>
        <pc:picChg chg="del mod modCrop">
          <ac:chgData name="HUANG LIN" userId="S::s301266@studenti.polito.it::1b5dcee7-0d99-405d-a0f0-637f14b99ad0" providerId="AD" clId="Web-{B96F5978-0933-491F-8D6F-D680E1181F89}" dt="2023-05-08T23:58:57.159" v="179"/>
          <ac:picMkLst>
            <pc:docMk/>
            <pc:sldMk cId="598547174" sldId="348"/>
            <ac:picMk id="3" creationId="{0E7264EE-AABE-8B12-EAE3-72238A849DB2}"/>
          </ac:picMkLst>
        </pc:picChg>
        <pc:picChg chg="add mod">
          <ac:chgData name="HUANG LIN" userId="S::s301266@studenti.polito.it::1b5dcee7-0d99-405d-a0f0-637f14b99ad0" providerId="AD" clId="Web-{B96F5978-0933-491F-8D6F-D680E1181F89}" dt="2023-05-09T00:00:08.772" v="194" actId="1076"/>
          <ac:picMkLst>
            <pc:docMk/>
            <pc:sldMk cId="598547174" sldId="348"/>
            <ac:picMk id="4" creationId="{A67BF5C1-A251-2DB2-EC17-A9DD9914A297}"/>
          </ac:picMkLst>
        </pc:picChg>
        <pc:picChg chg="add del mod">
          <ac:chgData name="HUANG LIN" userId="S::s301266@studenti.polito.it::1b5dcee7-0d99-405d-a0f0-637f14b99ad0" providerId="AD" clId="Web-{B96F5978-0933-491F-8D6F-D680E1181F89}" dt="2023-05-08T23:59:03.534" v="181"/>
          <ac:picMkLst>
            <pc:docMk/>
            <pc:sldMk cId="598547174" sldId="348"/>
            <ac:picMk id="5" creationId="{9C86B560-D267-BA94-5483-9EEF426ED896}"/>
          </ac:picMkLst>
        </pc:picChg>
        <pc:picChg chg="add mod">
          <ac:chgData name="HUANG LIN" userId="S::s301266@studenti.polito.it::1b5dcee7-0d99-405d-a0f0-637f14b99ad0" providerId="AD" clId="Web-{B96F5978-0933-491F-8D6F-D680E1181F89}" dt="2023-05-09T00:00:10.663" v="195" actId="1076"/>
          <ac:picMkLst>
            <pc:docMk/>
            <pc:sldMk cId="598547174" sldId="348"/>
            <ac:picMk id="6" creationId="{E19D80CB-3FC8-7BDC-221B-BFCA33059E5C}"/>
          </ac:picMkLst>
        </pc:picChg>
      </pc:sldChg>
      <pc:sldChg chg="addSp delSp modSp">
        <pc:chgData name="HUANG LIN" userId="S::s301266@studenti.polito.it::1b5dcee7-0d99-405d-a0f0-637f14b99ad0" providerId="AD" clId="Web-{B96F5978-0933-491F-8D6F-D680E1181F89}" dt="2023-05-08T23:54:23.822" v="166" actId="1076"/>
        <pc:sldMkLst>
          <pc:docMk/>
          <pc:sldMk cId="402974724" sldId="349"/>
        </pc:sldMkLst>
        <pc:spChg chg="del">
          <ac:chgData name="HUANG LIN" userId="S::s301266@studenti.polito.it::1b5dcee7-0d99-405d-a0f0-637f14b99ad0" providerId="AD" clId="Web-{B96F5978-0933-491F-8D6F-D680E1181F89}" dt="2023-05-08T23:23:44.129" v="1"/>
          <ac:spMkLst>
            <pc:docMk/>
            <pc:sldMk cId="402974724" sldId="349"/>
            <ac:spMk id="46" creationId="{9A9A5C2E-271B-C938-B541-A075F50FAE62}"/>
          </ac:spMkLst>
        </pc:spChg>
        <pc:grpChg chg="del">
          <ac:chgData name="HUANG LIN" userId="S::s301266@studenti.polito.it::1b5dcee7-0d99-405d-a0f0-637f14b99ad0" providerId="AD" clId="Web-{B96F5978-0933-491F-8D6F-D680E1181F89}" dt="2023-05-08T23:23:44.129" v="2"/>
          <ac:grpSpMkLst>
            <pc:docMk/>
            <pc:sldMk cId="402974724" sldId="349"/>
            <ac:grpSpMk id="27" creationId="{32823167-9920-8405-5607-7FED9D335A78}"/>
          </ac:grpSpMkLst>
        </pc:grpChg>
        <pc:picChg chg="add del mod">
          <ac:chgData name="HUANG LIN" userId="S::s301266@studenti.polito.it::1b5dcee7-0d99-405d-a0f0-637f14b99ad0" providerId="AD" clId="Web-{B96F5978-0933-491F-8D6F-D680E1181F89}" dt="2023-05-08T23:41:46.403" v="68"/>
          <ac:picMkLst>
            <pc:docMk/>
            <pc:sldMk cId="402974724" sldId="349"/>
            <ac:picMk id="7" creationId="{6E0BA438-5100-B790-4A06-849BD821E5A7}"/>
          </ac:picMkLst>
        </pc:picChg>
        <pc:picChg chg="add del mod">
          <ac:chgData name="HUANG LIN" userId="S::s301266@studenti.polito.it::1b5dcee7-0d99-405d-a0f0-637f14b99ad0" providerId="AD" clId="Web-{B96F5978-0933-491F-8D6F-D680E1181F89}" dt="2023-05-08T23:42:14.888" v="73"/>
          <ac:picMkLst>
            <pc:docMk/>
            <pc:sldMk cId="402974724" sldId="349"/>
            <ac:picMk id="8" creationId="{31ADBE97-C7F5-739B-CF2D-DC03DDCEB86A}"/>
          </ac:picMkLst>
        </pc:picChg>
        <pc:picChg chg="add del mod modCrop">
          <ac:chgData name="HUANG LIN" userId="S::s301266@studenti.polito.it::1b5dcee7-0d99-405d-a0f0-637f14b99ad0" providerId="AD" clId="Web-{B96F5978-0933-491F-8D6F-D680E1181F89}" dt="2023-05-08T23:47:02.210" v="105"/>
          <ac:picMkLst>
            <pc:docMk/>
            <pc:sldMk cId="402974724" sldId="349"/>
            <ac:picMk id="13" creationId="{0941BE46-62B2-F896-13B5-CA9B82F02EB6}"/>
          </ac:picMkLst>
        </pc:picChg>
        <pc:picChg chg="add mod">
          <ac:chgData name="HUANG LIN" userId="S::s301266@studenti.polito.it::1b5dcee7-0d99-405d-a0f0-637f14b99ad0" providerId="AD" clId="Web-{B96F5978-0933-491F-8D6F-D680E1181F89}" dt="2023-05-08T23:54:23.822" v="166" actId="1076"/>
          <ac:picMkLst>
            <pc:docMk/>
            <pc:sldMk cId="402974724" sldId="349"/>
            <ac:picMk id="28" creationId="{2F48CE8C-38CF-6626-B165-41CF3F28DD8A}"/>
          </ac:picMkLst>
        </pc:picChg>
        <pc:picChg chg="add del mod ord">
          <ac:chgData name="HUANG LIN" userId="S::s301266@studenti.polito.it::1b5dcee7-0d99-405d-a0f0-637f14b99ad0" providerId="AD" clId="Web-{B96F5978-0933-491F-8D6F-D680E1181F89}" dt="2023-05-08T23:49:19.058" v="127"/>
          <ac:picMkLst>
            <pc:docMk/>
            <pc:sldMk cId="402974724" sldId="349"/>
            <ac:picMk id="29" creationId="{BDE95F96-743B-2039-8607-86E5E95FA158}"/>
          </ac:picMkLst>
        </pc:picChg>
        <pc:picChg chg="add mod ord modCrop">
          <ac:chgData name="HUANG LIN" userId="S::s301266@studenti.polito.it::1b5dcee7-0d99-405d-a0f0-637f14b99ad0" providerId="AD" clId="Web-{B96F5978-0933-491F-8D6F-D680E1181F89}" dt="2023-05-08T23:53:24.300" v="158" actId="1076"/>
          <ac:picMkLst>
            <pc:docMk/>
            <pc:sldMk cId="402974724" sldId="349"/>
            <ac:picMk id="30" creationId="{D4B1A077-88AC-170D-F385-0F60A9E7A356}"/>
          </ac:picMkLst>
        </pc:picChg>
      </pc:sldChg>
      <pc:sldChg chg="addSp delSp modSp mod setBg">
        <pc:chgData name="HUANG LIN" userId="S::s301266@studenti.polito.it::1b5dcee7-0d99-405d-a0f0-637f14b99ad0" providerId="AD" clId="Web-{B96F5978-0933-491F-8D6F-D680E1181F89}" dt="2023-05-08T23:54:08.911" v="164" actId="1076"/>
        <pc:sldMkLst>
          <pc:docMk/>
          <pc:sldMk cId="2995164932" sldId="350"/>
        </pc:sldMkLst>
        <pc:spChg chg="mod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4" creationId="{F6731F8E-69D5-2ED0-DF0D-6B327010519B}"/>
          </ac:spMkLst>
        </pc:spChg>
        <pc:spChg chg="add del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25" creationId="{0DBF1ABE-8590-450D-BB49-BDDCCF3EEA9E}"/>
          </ac:spMkLst>
        </pc:spChg>
        <pc:spChg chg="add del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27" creationId="{441AAC8F-DDF5-413D-A80E-4FAF73EF56FA}"/>
          </ac:spMkLst>
        </pc:spChg>
        <pc:spChg chg="add del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29" creationId="{803B749B-7C91-4A70-9318-82A4EA18A774}"/>
          </ac:spMkLst>
        </pc:spChg>
        <pc:spChg chg="add del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31" creationId="{23444651-7CAB-437A-9DF1-EDE7DCF43C12}"/>
          </ac:spMkLst>
        </pc:spChg>
        <pc:spChg chg="add del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33" creationId="{5BEB0D00-4F7A-41D8-B15E-B42145EA9315}"/>
          </ac:spMkLst>
        </pc:spChg>
        <pc:spChg chg="add del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35" creationId="{95086C2D-811D-44A2-BE86-D996EFB9ACC0}"/>
          </ac:spMkLst>
        </pc:spChg>
        <pc:spChg chg="add del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37" creationId="{B3B994DF-9058-47C6-98CE-DF3EF5084E15}"/>
          </ac:spMkLst>
        </pc:spChg>
        <pc:grpChg chg="del">
          <ac:chgData name="HUANG LIN" userId="S::s301266@studenti.polito.it::1b5dcee7-0d99-405d-a0f0-637f14b99ad0" providerId="AD" clId="Web-{B96F5978-0933-491F-8D6F-D680E1181F89}" dt="2023-05-08T23:33:44.652" v="64"/>
          <ac:grpSpMkLst>
            <pc:docMk/>
            <pc:sldMk cId="2995164932" sldId="350"/>
            <ac:grpSpMk id="54" creationId="{3ED6DF7B-BCCD-00C6-9F49-2FC8C65CDB05}"/>
          </ac:grpSpMkLst>
        </pc:grpChg>
        <pc:picChg chg="add mod">
          <ac:chgData name="HUANG LIN" userId="S::s301266@studenti.polito.it::1b5dcee7-0d99-405d-a0f0-637f14b99ad0" providerId="AD" clId="Web-{B96F5978-0933-491F-8D6F-D680E1181F89}" dt="2023-05-08T23:54:07.489" v="163" actId="1076"/>
          <ac:picMkLst>
            <pc:docMk/>
            <pc:sldMk cId="2995164932" sldId="350"/>
            <ac:picMk id="3" creationId="{C9755640-43F7-FB3F-2DC1-728B21173E7B}"/>
          </ac:picMkLst>
        </pc:picChg>
        <pc:picChg chg="add del mod">
          <ac:chgData name="HUANG LIN" userId="S::s301266@studenti.polito.it::1b5dcee7-0d99-405d-a0f0-637f14b99ad0" providerId="AD" clId="Web-{B96F5978-0933-491F-8D6F-D680E1181F89}" dt="2023-05-08T23:50:01.013" v="133"/>
          <ac:picMkLst>
            <pc:docMk/>
            <pc:sldMk cId="2995164932" sldId="350"/>
            <ac:picMk id="6" creationId="{FEBA4C13-70D9-1140-180E-FBBAB26855CA}"/>
          </ac:picMkLst>
        </pc:picChg>
        <pc:picChg chg="add mod">
          <ac:chgData name="HUANG LIN" userId="S::s301266@studenti.polito.it::1b5dcee7-0d99-405d-a0f0-637f14b99ad0" providerId="AD" clId="Web-{B96F5978-0933-491F-8D6F-D680E1181F89}" dt="2023-05-08T23:54:08.911" v="164" actId="1076"/>
          <ac:picMkLst>
            <pc:docMk/>
            <pc:sldMk cId="2995164932" sldId="350"/>
            <ac:picMk id="8" creationId="{794FD554-B3F5-E355-298D-FF09AE4CE577}"/>
          </ac:picMkLst>
        </pc:picChg>
        <pc:picChg chg="mod">
          <ac:chgData name="HUANG LIN" userId="S::s301266@studenti.polito.it::1b5dcee7-0d99-405d-a0f0-637f14b99ad0" providerId="AD" clId="Web-{B96F5978-0933-491F-8D6F-D680E1181F89}" dt="2023-05-08T23:49:58.278" v="132"/>
          <ac:picMkLst>
            <pc:docMk/>
            <pc:sldMk cId="2995164932" sldId="350"/>
            <ac:picMk id="20" creationId="{F64265C0-A797-B8B7-2F0E-FEAB89FD525C}"/>
          </ac:picMkLst>
        </pc:picChg>
        <pc:picChg chg="del">
          <ac:chgData name="HUANG LIN" userId="S::s301266@studenti.polito.it::1b5dcee7-0d99-405d-a0f0-637f14b99ad0" providerId="AD" clId="Web-{B96F5978-0933-491F-8D6F-D680E1181F89}" dt="2023-05-08T23:33:40.652" v="63"/>
          <ac:picMkLst>
            <pc:docMk/>
            <pc:sldMk cId="2995164932" sldId="350"/>
            <ac:picMk id="24" creationId="{8E6FF798-6B1B-5852-AAFE-38F7C623BC58}"/>
          </ac:picMkLst>
        </pc:picChg>
      </pc:sldChg>
      <pc:sldChg chg="addSp delSp modSp add replId">
        <pc:chgData name="HUANG LIN" userId="S::s301266@studenti.polito.it::1b5dcee7-0d99-405d-a0f0-637f14b99ad0" providerId="AD" clId="Web-{B96F5978-0933-491F-8D6F-D680E1181F89}" dt="2023-05-08T23:30:28.767" v="60" actId="20577"/>
        <pc:sldMkLst>
          <pc:docMk/>
          <pc:sldMk cId="840243874" sldId="358"/>
        </pc:sldMkLst>
        <pc:spChg chg="mod">
          <ac:chgData name="HUANG LIN" userId="S::s301266@studenti.polito.it::1b5dcee7-0d99-405d-a0f0-637f14b99ad0" providerId="AD" clId="Web-{B96F5978-0933-491F-8D6F-D680E1181F89}" dt="2023-05-08T23:30:28.767" v="60" actId="20577"/>
          <ac:spMkLst>
            <pc:docMk/>
            <pc:sldMk cId="840243874" sldId="358"/>
            <ac:spMk id="2" creationId="{5DC741E7-F1D6-B009-10CF-6058F6D0A583}"/>
          </ac:spMkLst>
        </pc:spChg>
        <pc:spChg chg="mod">
          <ac:chgData name="HUANG LIN" userId="S::s301266@studenti.polito.it::1b5dcee7-0d99-405d-a0f0-637f14b99ad0" providerId="AD" clId="Web-{B96F5978-0933-491F-8D6F-D680E1181F89}" dt="2023-05-08T23:26:50.307" v="14" actId="20577"/>
          <ac:spMkLst>
            <pc:docMk/>
            <pc:sldMk cId="840243874" sldId="358"/>
            <ac:spMk id="19" creationId="{DCEA7726-7B1C-7E30-D838-35772280E2D3}"/>
          </ac:spMkLst>
        </pc:spChg>
        <pc:picChg chg="del">
          <ac:chgData name="HUANG LIN" userId="S::s301266@studenti.polito.it::1b5dcee7-0d99-405d-a0f0-637f14b99ad0" providerId="AD" clId="Web-{B96F5978-0933-491F-8D6F-D680E1181F89}" dt="2023-05-08T23:28:05.450" v="19"/>
          <ac:picMkLst>
            <pc:docMk/>
            <pc:sldMk cId="840243874" sldId="358"/>
            <ac:picMk id="3" creationId="{0E7264EE-AABE-8B12-EAE3-72238A849DB2}"/>
          </ac:picMkLst>
        </pc:picChg>
        <pc:picChg chg="add mod modCrop">
          <ac:chgData name="HUANG LIN" userId="S::s301266@studenti.polito.it::1b5dcee7-0d99-405d-a0f0-637f14b99ad0" providerId="AD" clId="Web-{B96F5978-0933-491F-8D6F-D680E1181F89}" dt="2023-05-08T23:30:05.298" v="54" actId="1076"/>
          <ac:picMkLst>
            <pc:docMk/>
            <pc:sldMk cId="840243874" sldId="358"/>
            <ac:picMk id="4" creationId="{8C3149BC-0D6D-4CF1-2803-10AD9EF79630}"/>
          </ac:picMkLst>
        </pc:picChg>
        <pc:picChg chg="mod">
          <ac:chgData name="HUANG LIN" userId="S::s301266@studenti.polito.it::1b5dcee7-0d99-405d-a0f0-637f14b99ad0" providerId="AD" clId="Web-{B96F5978-0933-491F-8D6F-D680E1181F89}" dt="2023-05-08T23:26:53.417" v="15" actId="1076"/>
          <ac:picMkLst>
            <pc:docMk/>
            <pc:sldMk cId="840243874" sldId="358"/>
            <ac:picMk id="16" creationId="{5F2C8C78-8A99-9C13-C01E-ED540BF01FEA}"/>
          </ac:picMkLst>
        </pc:picChg>
      </pc:sldChg>
    </pc:docChg>
  </pc:docChgLst>
  <pc:docChgLst>
    <pc:chgData name="YIN JUN" userId="S::s296134@studenti.polito.it::40f53ba7-6859-4e15-b6a0-4f636ac10741" providerId="AD" clId="Web-{3DBB60D5-04FD-4B6F-A8A7-1BF6119F092A}"/>
    <pc:docChg chg="addSld delSld modSld">
      <pc:chgData name="YIN JUN" userId="S::s296134@studenti.polito.it::40f53ba7-6859-4e15-b6a0-4f636ac10741" providerId="AD" clId="Web-{3DBB60D5-04FD-4B6F-A8A7-1BF6119F092A}" dt="2023-05-16T23:01:39.775" v="42"/>
      <pc:docMkLst>
        <pc:docMk/>
      </pc:docMkLst>
      <pc:sldChg chg="del">
        <pc:chgData name="YIN JUN" userId="S::s296134@studenti.polito.it::40f53ba7-6859-4e15-b6a0-4f636ac10741" providerId="AD" clId="Web-{3DBB60D5-04FD-4B6F-A8A7-1BF6119F092A}" dt="2023-05-16T23:01:39.775" v="42"/>
        <pc:sldMkLst>
          <pc:docMk/>
          <pc:sldMk cId="2954245266" sldId="355"/>
        </pc:sldMkLst>
      </pc:sldChg>
      <pc:sldChg chg="del">
        <pc:chgData name="YIN JUN" userId="S::s296134@studenti.polito.it::40f53ba7-6859-4e15-b6a0-4f636ac10741" providerId="AD" clId="Web-{3DBB60D5-04FD-4B6F-A8A7-1BF6119F092A}" dt="2023-05-16T22:51:01.849" v="1"/>
        <pc:sldMkLst>
          <pc:docMk/>
          <pc:sldMk cId="3335901182" sldId="360"/>
        </pc:sldMkLst>
      </pc:sldChg>
      <pc:sldChg chg="modSp">
        <pc:chgData name="YIN JUN" userId="S::s296134@studenti.polito.it::40f53ba7-6859-4e15-b6a0-4f636ac10741" providerId="AD" clId="Web-{3DBB60D5-04FD-4B6F-A8A7-1BF6119F092A}" dt="2023-05-16T23:00:28.835" v="41"/>
        <pc:sldMkLst>
          <pc:docMk/>
          <pc:sldMk cId="3747817912" sldId="362"/>
        </pc:sldMkLst>
        <pc:graphicFrameChg chg="mod modGraphic">
          <ac:chgData name="YIN JUN" userId="S::s296134@studenti.polito.it::40f53ba7-6859-4e15-b6a0-4f636ac10741" providerId="AD" clId="Web-{3DBB60D5-04FD-4B6F-A8A7-1BF6119F092A}" dt="2023-05-16T23:00:28.835" v="41"/>
          <ac:graphicFrameMkLst>
            <pc:docMk/>
            <pc:sldMk cId="3747817912" sldId="362"/>
            <ac:graphicFrameMk id="7" creationId="{7D8A467F-B93F-3591-D4D3-C24F8692036A}"/>
          </ac:graphicFrameMkLst>
        </pc:graphicFrameChg>
      </pc:sldChg>
      <pc:sldChg chg="modSp add">
        <pc:chgData name="YIN JUN" userId="S::s296134@studenti.polito.it::40f53ba7-6859-4e15-b6a0-4f636ac10741" providerId="AD" clId="Web-{3DBB60D5-04FD-4B6F-A8A7-1BF6119F092A}" dt="2023-05-16T22:59:26.802" v="3" actId="14100"/>
        <pc:sldMkLst>
          <pc:docMk/>
          <pc:sldMk cId="2477733356" sldId="363"/>
        </pc:sldMkLst>
        <pc:picChg chg="mod">
          <ac:chgData name="YIN JUN" userId="S::s296134@studenti.polito.it::40f53ba7-6859-4e15-b6a0-4f636ac10741" providerId="AD" clId="Web-{3DBB60D5-04FD-4B6F-A8A7-1BF6119F092A}" dt="2023-05-16T22:59:26.802" v="3" actId="14100"/>
          <ac:picMkLst>
            <pc:docMk/>
            <pc:sldMk cId="2477733356" sldId="363"/>
            <ac:picMk id="32" creationId="{987315D0-05E8-80EF-C4C5-DDFE6DBAF203}"/>
          </ac:picMkLst>
        </pc:picChg>
      </pc:sldChg>
    </pc:docChg>
  </pc:docChgLst>
  <pc:docChgLst>
    <pc:chgData name="YIN JUN" userId="40f53ba7-6859-4e15-b6a0-4f636ac10741" providerId="ADAL" clId="{C9722A85-F1E4-9048-BE8D-8E0EBCAB989B}"/>
    <pc:docChg chg="undo custSel modSld">
      <pc:chgData name="YIN JUN" userId="40f53ba7-6859-4e15-b6a0-4f636ac10741" providerId="ADAL" clId="{C9722A85-F1E4-9048-BE8D-8E0EBCAB989B}" dt="2023-10-23T10:44:38.795" v="475" actId="1076"/>
      <pc:docMkLst>
        <pc:docMk/>
      </pc:docMkLst>
      <pc:sldChg chg="modSp mod">
        <pc:chgData name="YIN JUN" userId="40f53ba7-6859-4e15-b6a0-4f636ac10741" providerId="ADAL" clId="{C9722A85-F1E4-9048-BE8D-8E0EBCAB989B}" dt="2023-10-23T10:44:38.795" v="475" actId="1076"/>
        <pc:sldMkLst>
          <pc:docMk/>
          <pc:sldMk cId="2514733596" sldId="368"/>
        </pc:sldMkLst>
        <pc:spChg chg="mod">
          <ac:chgData name="YIN JUN" userId="40f53ba7-6859-4e15-b6a0-4f636ac10741" providerId="ADAL" clId="{C9722A85-F1E4-9048-BE8D-8E0EBCAB989B}" dt="2023-10-23T10:44:32.941" v="474" actId="1076"/>
          <ac:spMkLst>
            <pc:docMk/>
            <pc:sldMk cId="2514733596" sldId="368"/>
            <ac:spMk id="7" creationId="{49B9EEB3-60F3-732C-B290-7EA1C8CFA0DF}"/>
          </ac:spMkLst>
        </pc:spChg>
        <pc:spChg chg="mod">
          <ac:chgData name="YIN JUN" userId="40f53ba7-6859-4e15-b6a0-4f636ac10741" providerId="ADAL" clId="{C9722A85-F1E4-9048-BE8D-8E0EBCAB989B}" dt="2023-10-23T10:44:38.795" v="475" actId="1076"/>
          <ac:spMkLst>
            <pc:docMk/>
            <pc:sldMk cId="2514733596" sldId="368"/>
            <ac:spMk id="23" creationId="{76A7C948-C80B-5829-DE5B-AC624D851D3A}"/>
          </ac:spMkLst>
        </pc:spChg>
        <pc:picChg chg="mod">
          <ac:chgData name="YIN JUN" userId="40f53ba7-6859-4e15-b6a0-4f636ac10741" providerId="ADAL" clId="{C9722A85-F1E4-9048-BE8D-8E0EBCAB989B}" dt="2023-10-23T10:44:38.795" v="475" actId="1076"/>
          <ac:picMkLst>
            <pc:docMk/>
            <pc:sldMk cId="2514733596" sldId="368"/>
            <ac:picMk id="14" creationId="{DBB64D9D-D733-BF5B-4747-E553E6A7D071}"/>
          </ac:picMkLst>
        </pc:picChg>
        <pc:picChg chg="mod">
          <ac:chgData name="YIN JUN" userId="40f53ba7-6859-4e15-b6a0-4f636ac10741" providerId="ADAL" clId="{C9722A85-F1E4-9048-BE8D-8E0EBCAB989B}" dt="2023-10-23T10:44:38.795" v="475" actId="1076"/>
          <ac:picMkLst>
            <pc:docMk/>
            <pc:sldMk cId="2514733596" sldId="368"/>
            <ac:picMk id="16" creationId="{5E3AEADC-FA26-FEF8-0827-EB57BD0B055E}"/>
          </ac:picMkLst>
        </pc:picChg>
      </pc:sldChg>
      <pc:sldChg chg="addSp delSp modSp mod">
        <pc:chgData name="YIN JUN" userId="40f53ba7-6859-4e15-b6a0-4f636ac10741" providerId="ADAL" clId="{C9722A85-F1E4-9048-BE8D-8E0EBCAB989B}" dt="2023-10-23T10:44:18.989" v="472" actId="20577"/>
        <pc:sldMkLst>
          <pc:docMk/>
          <pc:sldMk cId="3176898786" sldId="370"/>
        </pc:sldMkLst>
        <pc:spChg chg="mod">
          <ac:chgData name="YIN JUN" userId="40f53ba7-6859-4e15-b6a0-4f636ac10741" providerId="ADAL" clId="{C9722A85-F1E4-9048-BE8D-8E0EBCAB989B}" dt="2023-10-23T08:55:02.065" v="324" actId="20577"/>
          <ac:spMkLst>
            <pc:docMk/>
            <pc:sldMk cId="3176898786" sldId="370"/>
            <ac:spMk id="2" creationId="{00000000-0000-0000-0000-000000000000}"/>
          </ac:spMkLst>
        </pc:spChg>
        <pc:spChg chg="add del mod">
          <ac:chgData name="YIN JUN" userId="40f53ba7-6859-4e15-b6a0-4f636ac10741" providerId="ADAL" clId="{C9722A85-F1E4-9048-BE8D-8E0EBCAB989B}" dt="2023-10-23T10:44:18.989" v="472" actId="20577"/>
          <ac:spMkLst>
            <pc:docMk/>
            <pc:sldMk cId="3176898786" sldId="370"/>
            <ac:spMk id="3" creationId="{6E752789-406C-AEE9-F69E-09711FF61770}"/>
          </ac:spMkLst>
        </pc:spChg>
      </pc:sldChg>
    </pc:docChg>
  </pc:docChgLst>
  <pc:docChgLst>
    <pc:chgData name="YIN JUN" userId="S::s296134@studenti.polito.it::40f53ba7-6859-4e15-b6a0-4f636ac10741" providerId="AD" clId="Web-{2A3D9539-A1A6-48DF-8D5C-2DBFB3BA65B7}"/>
    <pc:docChg chg="modSld">
      <pc:chgData name="YIN JUN" userId="S::s296134@studenti.polito.it::40f53ba7-6859-4e15-b6a0-4f636ac10741" providerId="AD" clId="Web-{2A3D9539-A1A6-48DF-8D5C-2DBFB3BA65B7}" dt="2023-05-16T18:04:55.055" v="4" actId="20577"/>
      <pc:docMkLst>
        <pc:docMk/>
      </pc:docMkLst>
      <pc:sldChg chg="modSp">
        <pc:chgData name="YIN JUN" userId="S::s296134@studenti.polito.it::40f53ba7-6859-4e15-b6a0-4f636ac10741" providerId="AD" clId="Web-{2A3D9539-A1A6-48DF-8D5C-2DBFB3BA65B7}" dt="2023-05-16T18:04:55.055" v="4" actId="20577"/>
        <pc:sldMkLst>
          <pc:docMk/>
          <pc:sldMk cId="3335901182" sldId="360"/>
        </pc:sldMkLst>
        <pc:spChg chg="mod">
          <ac:chgData name="YIN JUN" userId="S::s296134@studenti.polito.it::40f53ba7-6859-4e15-b6a0-4f636ac10741" providerId="AD" clId="Web-{2A3D9539-A1A6-48DF-8D5C-2DBFB3BA65B7}" dt="2023-05-16T18:04:55.055" v="4" actId="20577"/>
          <ac:spMkLst>
            <pc:docMk/>
            <pc:sldMk cId="3335901182" sldId="360"/>
            <ac:spMk id="6" creationId="{9C55B4C8-04E9-9A8D-C642-861683C1126C}"/>
          </ac:spMkLst>
        </pc:spChg>
      </pc:sldChg>
    </pc:docChg>
  </pc:docChgLst>
  <pc:docChgLst>
    <pc:chgData name="YIN JUN" userId="S::s296134@studenti.polito.it::40f53ba7-6859-4e15-b6a0-4f636ac10741" providerId="AD" clId="Web-{0F9AE705-2D7B-43F1-8BB8-182B84F20DBC}"/>
    <pc:docChg chg="modSld">
      <pc:chgData name="YIN JUN" userId="S::s296134@studenti.polito.it::40f53ba7-6859-4e15-b6a0-4f636ac10741" providerId="AD" clId="Web-{0F9AE705-2D7B-43F1-8BB8-182B84F20DBC}" dt="2023-05-16T17:56:37.432" v="4" actId="1076"/>
      <pc:docMkLst>
        <pc:docMk/>
      </pc:docMkLst>
      <pc:sldChg chg="modSp">
        <pc:chgData name="YIN JUN" userId="S::s296134@studenti.polito.it::40f53ba7-6859-4e15-b6a0-4f636ac10741" providerId="AD" clId="Web-{0F9AE705-2D7B-43F1-8BB8-182B84F20DBC}" dt="2023-05-16T17:56:37.432" v="4" actId="1076"/>
        <pc:sldMkLst>
          <pc:docMk/>
          <pc:sldMk cId="1904998559" sldId="357"/>
        </pc:sldMkLst>
        <pc:picChg chg="mod">
          <ac:chgData name="YIN JUN" userId="S::s296134@studenti.polito.it::40f53ba7-6859-4e15-b6a0-4f636ac10741" providerId="AD" clId="Web-{0F9AE705-2D7B-43F1-8BB8-182B84F20DBC}" dt="2023-05-16T17:55:42.334" v="2" actId="1076"/>
          <ac:picMkLst>
            <pc:docMk/>
            <pc:sldMk cId="1904998559" sldId="357"/>
            <ac:picMk id="5" creationId="{4121424B-A53C-054F-2FD3-327174D22144}"/>
          </ac:picMkLst>
        </pc:picChg>
        <pc:picChg chg="mod">
          <ac:chgData name="YIN JUN" userId="S::s296134@studenti.polito.it::40f53ba7-6859-4e15-b6a0-4f636ac10741" providerId="AD" clId="Web-{0F9AE705-2D7B-43F1-8BB8-182B84F20DBC}" dt="2023-05-16T17:56:35.197" v="3" actId="1076"/>
          <ac:picMkLst>
            <pc:docMk/>
            <pc:sldMk cId="1904998559" sldId="357"/>
            <ac:picMk id="6" creationId="{A0E00ADA-565B-1D28-0FAD-19299323A3CB}"/>
          </ac:picMkLst>
        </pc:picChg>
        <pc:picChg chg="mod">
          <ac:chgData name="YIN JUN" userId="S::s296134@studenti.polito.it::40f53ba7-6859-4e15-b6a0-4f636ac10741" providerId="AD" clId="Web-{0F9AE705-2D7B-43F1-8BB8-182B84F20DBC}" dt="2023-05-16T17:55:36.521" v="0" actId="1076"/>
          <ac:picMkLst>
            <pc:docMk/>
            <pc:sldMk cId="1904998559" sldId="357"/>
            <ac:picMk id="7" creationId="{E4C36C59-DFF4-DCBB-86E3-15551ED736EC}"/>
          </ac:picMkLst>
        </pc:picChg>
        <pc:picChg chg="mod">
          <ac:chgData name="YIN JUN" userId="S::s296134@studenti.polito.it::40f53ba7-6859-4e15-b6a0-4f636ac10741" providerId="AD" clId="Web-{0F9AE705-2D7B-43F1-8BB8-182B84F20DBC}" dt="2023-05-16T17:56:37.432" v="4" actId="1076"/>
          <ac:picMkLst>
            <pc:docMk/>
            <pc:sldMk cId="1904998559" sldId="357"/>
            <ac:picMk id="11" creationId="{8AE707F7-D6F5-20F4-2FC9-4B2BEC61B226}"/>
          </ac:picMkLst>
        </pc:picChg>
      </pc:sldChg>
    </pc:docChg>
  </pc:docChgLst>
  <pc:docChgLst>
    <pc:chgData name="CHEN JINGSI" userId="2c6a6994-749a-46da-a9cf-6c6b6bb4c573" providerId="ADAL" clId="{DD493BD8-4BD7-A143-86F6-3B7B220F2C19}"/>
    <pc:docChg chg="undo custSel addSld modSld">
      <pc:chgData name="CHEN JINGSI" userId="2c6a6994-749a-46da-a9cf-6c6b6bb4c573" providerId="ADAL" clId="{DD493BD8-4BD7-A143-86F6-3B7B220F2C19}" dt="2023-05-08T20:39:00.958" v="490" actId="113"/>
      <pc:docMkLst>
        <pc:docMk/>
      </pc:docMkLst>
      <pc:sldChg chg="modSp mod">
        <pc:chgData name="CHEN JINGSI" userId="2c6a6994-749a-46da-a9cf-6c6b6bb4c573" providerId="ADAL" clId="{DD493BD8-4BD7-A143-86F6-3B7B220F2C19}" dt="2023-05-08T19:55:11.680" v="14" actId="20577"/>
        <pc:sldMkLst>
          <pc:docMk/>
          <pc:sldMk cId="0" sldId="256"/>
        </pc:sldMkLst>
        <pc:spChg chg="mod">
          <ac:chgData name="CHEN JINGSI" userId="2c6a6994-749a-46da-a9cf-6c6b6bb4c573" providerId="ADAL" clId="{DD493BD8-4BD7-A143-86F6-3B7B220F2C19}" dt="2023-05-08T19:55:11.680" v="14" actId="20577"/>
          <ac:spMkLst>
            <pc:docMk/>
            <pc:sldMk cId="0" sldId="256"/>
            <ac:spMk id="10" creationId="{C15AF6EE-87AD-3326-8977-BAAD70FBF8A0}"/>
          </ac:spMkLst>
        </pc:spChg>
      </pc:sldChg>
      <pc:sldChg chg="modSp">
        <pc:chgData name="CHEN JINGSI" userId="2c6a6994-749a-46da-a9cf-6c6b6bb4c573" providerId="ADAL" clId="{DD493BD8-4BD7-A143-86F6-3B7B220F2C19}" dt="2023-05-08T20:07:11.866" v="52"/>
        <pc:sldMkLst>
          <pc:docMk/>
          <pc:sldMk cId="2698664924" sldId="318"/>
        </pc:sldMkLst>
        <pc:graphicFrameChg chg="mod">
          <ac:chgData name="CHEN JINGSI" userId="2c6a6994-749a-46da-a9cf-6c6b6bb4c573" providerId="ADAL" clId="{DD493BD8-4BD7-A143-86F6-3B7B220F2C19}" dt="2023-05-08T20:07:11.866" v="52"/>
          <ac:graphicFrameMkLst>
            <pc:docMk/>
            <pc:sldMk cId="2698664924" sldId="318"/>
            <ac:graphicFrameMk id="18" creationId="{4FA32BF4-CC4B-4E91-FE4D-9A18B2134C90}"/>
          </ac:graphicFrameMkLst>
        </pc:graphicFrameChg>
      </pc:sldChg>
      <pc:sldChg chg="modSp">
        <pc:chgData name="CHEN JINGSI" userId="2c6a6994-749a-46da-a9cf-6c6b6bb4c573" providerId="ADAL" clId="{DD493BD8-4BD7-A143-86F6-3B7B220F2C19}" dt="2023-05-08T20:07:04.264" v="49"/>
        <pc:sldMkLst>
          <pc:docMk/>
          <pc:sldMk cId="4045649330" sldId="319"/>
        </pc:sldMkLst>
        <pc:graphicFrameChg chg="mod">
          <ac:chgData name="CHEN JINGSI" userId="2c6a6994-749a-46da-a9cf-6c6b6bb4c573" providerId="ADAL" clId="{DD493BD8-4BD7-A143-86F6-3B7B220F2C19}" dt="2023-05-08T20:07:04.264" v="49"/>
          <ac:graphicFrameMkLst>
            <pc:docMk/>
            <pc:sldMk cId="4045649330" sldId="319"/>
            <ac:graphicFrameMk id="18" creationId="{4FA32BF4-CC4B-4E91-FE4D-9A18B2134C90}"/>
          </ac:graphicFrameMkLst>
        </pc:graphicFrameChg>
      </pc:sldChg>
      <pc:sldChg chg="modSp">
        <pc:chgData name="CHEN JINGSI" userId="2c6a6994-749a-46da-a9cf-6c6b6bb4c573" providerId="ADAL" clId="{DD493BD8-4BD7-A143-86F6-3B7B220F2C19}" dt="2023-05-08T20:07:26.215" v="61" actId="20577"/>
        <pc:sldMkLst>
          <pc:docMk/>
          <pc:sldMk cId="2108862298" sldId="321"/>
        </pc:sldMkLst>
        <pc:graphicFrameChg chg="mod">
          <ac:chgData name="CHEN JINGSI" userId="2c6a6994-749a-46da-a9cf-6c6b6bb4c573" providerId="ADAL" clId="{DD493BD8-4BD7-A143-86F6-3B7B220F2C19}" dt="2023-05-08T20:07:26.215" v="61" actId="20577"/>
          <ac:graphicFrameMkLst>
            <pc:docMk/>
            <pc:sldMk cId="2108862298" sldId="321"/>
            <ac:graphicFrameMk id="18" creationId="{4FA32BF4-CC4B-4E91-FE4D-9A18B2134C90}"/>
          </ac:graphicFrameMkLst>
        </pc:graphicFrameChg>
      </pc:sldChg>
      <pc:sldChg chg="modSp">
        <pc:chgData name="CHEN JINGSI" userId="2c6a6994-749a-46da-a9cf-6c6b6bb4c573" providerId="ADAL" clId="{DD493BD8-4BD7-A143-86F6-3B7B220F2C19}" dt="2023-05-08T20:07:36.870" v="67" actId="20577"/>
        <pc:sldMkLst>
          <pc:docMk/>
          <pc:sldMk cId="852764204" sldId="322"/>
        </pc:sldMkLst>
        <pc:graphicFrameChg chg="mod">
          <ac:chgData name="CHEN JINGSI" userId="2c6a6994-749a-46da-a9cf-6c6b6bb4c573" providerId="ADAL" clId="{DD493BD8-4BD7-A143-86F6-3B7B220F2C19}" dt="2023-05-08T20:07:36.870" v="67" actId="20577"/>
          <ac:graphicFrameMkLst>
            <pc:docMk/>
            <pc:sldMk cId="852764204" sldId="322"/>
            <ac:graphicFrameMk id="18" creationId="{4FA32BF4-CC4B-4E91-FE4D-9A18B2134C90}"/>
          </ac:graphicFrameMkLst>
        </pc:graphicFrameChg>
      </pc:sldChg>
      <pc:sldChg chg="modSp">
        <pc:chgData name="CHEN JINGSI" userId="2c6a6994-749a-46da-a9cf-6c6b6bb4c573" providerId="ADAL" clId="{DD493BD8-4BD7-A143-86F6-3B7B220F2C19}" dt="2023-05-08T20:06:44.880" v="43" actId="20577"/>
        <pc:sldMkLst>
          <pc:docMk/>
          <pc:sldMk cId="3431435819" sldId="325"/>
        </pc:sldMkLst>
        <pc:graphicFrameChg chg="mod">
          <ac:chgData name="CHEN JINGSI" userId="2c6a6994-749a-46da-a9cf-6c6b6bb4c573" providerId="ADAL" clId="{DD493BD8-4BD7-A143-86F6-3B7B220F2C19}" dt="2023-05-08T20:06:44.880" v="43" actId="20577"/>
          <ac:graphicFrameMkLst>
            <pc:docMk/>
            <pc:sldMk cId="3431435819" sldId="325"/>
            <ac:graphicFrameMk id="18" creationId="{4FA32BF4-CC4B-4E91-FE4D-9A18B2134C90}"/>
          </ac:graphicFrameMkLst>
        </pc:graphicFrameChg>
      </pc:sldChg>
      <pc:sldChg chg="modSp mod">
        <pc:chgData name="CHEN JINGSI" userId="2c6a6994-749a-46da-a9cf-6c6b6bb4c573" providerId="ADAL" clId="{DD493BD8-4BD7-A143-86F6-3B7B220F2C19}" dt="2023-05-08T20:09:29.589" v="175" actId="20577"/>
        <pc:sldMkLst>
          <pc:docMk/>
          <pc:sldMk cId="2122089933" sldId="332"/>
        </pc:sldMkLst>
        <pc:spChg chg="mod">
          <ac:chgData name="CHEN JINGSI" userId="2c6a6994-749a-46da-a9cf-6c6b6bb4c573" providerId="ADAL" clId="{DD493BD8-4BD7-A143-86F6-3B7B220F2C19}" dt="2023-05-08T20:09:29.589" v="175" actId="20577"/>
          <ac:spMkLst>
            <pc:docMk/>
            <pc:sldMk cId="2122089933" sldId="332"/>
            <ac:spMk id="2" creationId="{00000000-0000-0000-0000-000000000000}"/>
          </ac:spMkLst>
        </pc:spChg>
      </pc:sldChg>
      <pc:sldChg chg="modSp mod modNotesTx">
        <pc:chgData name="CHEN JINGSI" userId="2c6a6994-749a-46da-a9cf-6c6b6bb4c573" providerId="ADAL" clId="{DD493BD8-4BD7-A143-86F6-3B7B220F2C19}" dt="2023-05-08T20:10:01.305" v="187" actId="20577"/>
        <pc:sldMkLst>
          <pc:docMk/>
          <pc:sldMk cId="3186716803" sldId="333"/>
        </pc:sldMkLst>
        <pc:spChg chg="mod">
          <ac:chgData name="CHEN JINGSI" userId="2c6a6994-749a-46da-a9cf-6c6b6bb4c573" providerId="ADAL" clId="{DD493BD8-4BD7-A143-86F6-3B7B220F2C19}" dt="2023-05-08T20:09:54.552" v="186" actId="20577"/>
          <ac:spMkLst>
            <pc:docMk/>
            <pc:sldMk cId="3186716803" sldId="333"/>
            <ac:spMk id="2" creationId="{00000000-0000-0000-0000-000000000000}"/>
          </ac:spMkLst>
        </pc:spChg>
      </pc:sldChg>
      <pc:sldChg chg="addSp delSp modSp mod">
        <pc:chgData name="CHEN JINGSI" userId="2c6a6994-749a-46da-a9cf-6c6b6bb4c573" providerId="ADAL" clId="{DD493BD8-4BD7-A143-86F6-3B7B220F2C19}" dt="2023-05-08T20:39:00.958" v="490" actId="113"/>
        <pc:sldMkLst>
          <pc:docMk/>
          <pc:sldMk cId="24899032" sldId="338"/>
        </pc:sldMkLst>
        <pc:spChg chg="mod">
          <ac:chgData name="CHEN JINGSI" userId="2c6a6994-749a-46da-a9cf-6c6b6bb4c573" providerId="ADAL" clId="{DD493BD8-4BD7-A143-86F6-3B7B220F2C19}" dt="2023-05-08T20:12:02.941" v="214" actId="20577"/>
          <ac:spMkLst>
            <pc:docMk/>
            <pc:sldMk cId="24899032" sldId="338"/>
            <ac:spMk id="2" creationId="{00000000-0000-0000-0000-000000000000}"/>
          </ac:spMkLst>
        </pc:spChg>
        <pc:spChg chg="del mod">
          <ac:chgData name="CHEN JINGSI" userId="2c6a6994-749a-46da-a9cf-6c6b6bb4c573" providerId="ADAL" clId="{DD493BD8-4BD7-A143-86F6-3B7B220F2C19}" dt="2023-05-08T20:25:59.148" v="323" actId="478"/>
          <ac:spMkLst>
            <pc:docMk/>
            <pc:sldMk cId="24899032" sldId="338"/>
            <ac:spMk id="6" creationId="{3CCC3C84-E348-3BEA-0AED-89D933D95A65}"/>
          </ac:spMkLst>
        </pc:spChg>
        <pc:spChg chg="add del mod">
          <ac:chgData name="CHEN JINGSI" userId="2c6a6994-749a-46da-a9cf-6c6b6bb4c573" providerId="ADAL" clId="{DD493BD8-4BD7-A143-86F6-3B7B220F2C19}" dt="2023-05-08T20:34:45.659" v="441" actId="478"/>
          <ac:spMkLst>
            <pc:docMk/>
            <pc:sldMk cId="24899032" sldId="338"/>
            <ac:spMk id="7" creationId="{5B2009E3-9EDC-0F42-8618-47905C67FD29}"/>
          </ac:spMkLst>
        </pc:spChg>
        <pc:spChg chg="mod">
          <ac:chgData name="CHEN JINGSI" userId="2c6a6994-749a-46da-a9cf-6c6b6bb4c573" providerId="ADAL" clId="{DD493BD8-4BD7-A143-86F6-3B7B220F2C19}" dt="2023-05-08T19:59:36.595" v="15" actId="1076"/>
          <ac:spMkLst>
            <pc:docMk/>
            <pc:sldMk cId="24899032" sldId="338"/>
            <ac:spMk id="9" creationId="{A7780947-0E2D-78A8-EB94-60C5B0743DC0}"/>
          </ac:spMkLst>
        </pc:spChg>
        <pc:spChg chg="add mod">
          <ac:chgData name="CHEN JINGSI" userId="2c6a6994-749a-46da-a9cf-6c6b6bb4c573" providerId="ADAL" clId="{DD493BD8-4BD7-A143-86F6-3B7B220F2C19}" dt="2023-05-08T20:30:47.909" v="378" actId="1037"/>
          <ac:spMkLst>
            <pc:docMk/>
            <pc:sldMk cId="24899032" sldId="338"/>
            <ac:spMk id="10" creationId="{2C11FF79-A8FC-141F-583C-E7C333E8AC2D}"/>
          </ac:spMkLst>
        </pc:spChg>
        <pc:spChg chg="mod">
          <ac:chgData name="CHEN JINGSI" userId="2c6a6994-749a-46da-a9cf-6c6b6bb4c573" providerId="ADAL" clId="{DD493BD8-4BD7-A143-86F6-3B7B220F2C19}" dt="2023-05-08T19:59:42.588" v="16" actId="1076"/>
          <ac:spMkLst>
            <pc:docMk/>
            <pc:sldMk cId="24899032" sldId="338"/>
            <ac:spMk id="12" creationId="{CE7BA196-60F0-2B05-8FCC-6A0EFD5EC709}"/>
          </ac:spMkLst>
        </pc:spChg>
        <pc:spChg chg="add mod">
          <ac:chgData name="CHEN JINGSI" userId="2c6a6994-749a-46da-a9cf-6c6b6bb4c573" providerId="ADAL" clId="{DD493BD8-4BD7-A143-86F6-3B7B220F2C19}" dt="2023-05-08T20:29:50.479" v="370" actId="164"/>
          <ac:spMkLst>
            <pc:docMk/>
            <pc:sldMk cId="24899032" sldId="338"/>
            <ac:spMk id="27" creationId="{7887396F-AAB8-61FA-7928-8B0F3053EEF5}"/>
          </ac:spMkLst>
        </pc:spChg>
        <pc:spChg chg="mod">
          <ac:chgData name="CHEN JINGSI" userId="2c6a6994-749a-46da-a9cf-6c6b6bb4c573" providerId="ADAL" clId="{DD493BD8-4BD7-A143-86F6-3B7B220F2C19}" dt="2023-05-08T20:32:05.661" v="425" actId="1076"/>
          <ac:spMkLst>
            <pc:docMk/>
            <pc:sldMk cId="24899032" sldId="338"/>
            <ac:spMk id="28" creationId="{DFA9FCB5-0C15-2F9E-DA08-A0BA5E0AE23D}"/>
          </ac:spMkLst>
        </pc:spChg>
        <pc:spChg chg="add mod">
          <ac:chgData name="CHEN JINGSI" userId="2c6a6994-749a-46da-a9cf-6c6b6bb4c573" providerId="ADAL" clId="{DD493BD8-4BD7-A143-86F6-3B7B220F2C19}" dt="2023-05-08T20:32:44.558" v="432" actId="164"/>
          <ac:spMkLst>
            <pc:docMk/>
            <pc:sldMk cId="24899032" sldId="338"/>
            <ac:spMk id="30" creationId="{2D75A363-9428-131F-9A0E-7807E486CD93}"/>
          </ac:spMkLst>
        </pc:spChg>
        <pc:spChg chg="mod">
          <ac:chgData name="CHEN JINGSI" userId="2c6a6994-749a-46da-a9cf-6c6b6bb4c573" providerId="ADAL" clId="{DD493BD8-4BD7-A143-86F6-3B7B220F2C19}" dt="2023-05-08T20:31:08.947" v="389" actId="14100"/>
          <ac:spMkLst>
            <pc:docMk/>
            <pc:sldMk cId="24899032" sldId="338"/>
            <ac:spMk id="32" creationId="{8C711EA6-D4F4-CAAE-ACED-9E21066BB77C}"/>
          </ac:spMkLst>
        </pc:spChg>
        <pc:spChg chg="mod">
          <ac:chgData name="CHEN JINGSI" userId="2c6a6994-749a-46da-a9cf-6c6b6bb4c573" providerId="ADAL" clId="{DD493BD8-4BD7-A143-86F6-3B7B220F2C19}" dt="2023-05-08T20:32:03.389" v="424" actId="1076"/>
          <ac:spMkLst>
            <pc:docMk/>
            <pc:sldMk cId="24899032" sldId="338"/>
            <ac:spMk id="33" creationId="{4FECA5D3-E5BA-727B-2F80-BE21A790464D}"/>
          </ac:spMkLst>
        </pc:spChg>
        <pc:spChg chg="mod">
          <ac:chgData name="CHEN JINGSI" userId="2c6a6994-749a-46da-a9cf-6c6b6bb4c573" providerId="ADAL" clId="{DD493BD8-4BD7-A143-86F6-3B7B220F2C19}" dt="2023-05-08T20:31:32.075" v="404" actId="20577"/>
          <ac:spMkLst>
            <pc:docMk/>
            <pc:sldMk cId="24899032" sldId="338"/>
            <ac:spMk id="34" creationId="{C1601AC1-9FA9-BD1E-EF96-6D1894948179}"/>
          </ac:spMkLst>
        </pc:spChg>
        <pc:spChg chg="add mod">
          <ac:chgData name="CHEN JINGSI" userId="2c6a6994-749a-46da-a9cf-6c6b6bb4c573" providerId="ADAL" clId="{DD493BD8-4BD7-A143-86F6-3B7B220F2C19}" dt="2023-05-08T20:39:00.958" v="490" actId="113"/>
          <ac:spMkLst>
            <pc:docMk/>
            <pc:sldMk cId="24899032" sldId="338"/>
            <ac:spMk id="36" creationId="{EF180F64-4B76-6FFD-50AA-4408ABA9CDCC}"/>
          </ac:spMkLst>
        </pc:spChg>
        <pc:spChg chg="add mod">
          <ac:chgData name="CHEN JINGSI" userId="2c6a6994-749a-46da-a9cf-6c6b6bb4c573" providerId="ADAL" clId="{DD493BD8-4BD7-A143-86F6-3B7B220F2C19}" dt="2023-05-08T20:38:56.600" v="488" actId="14100"/>
          <ac:spMkLst>
            <pc:docMk/>
            <pc:sldMk cId="24899032" sldId="338"/>
            <ac:spMk id="37" creationId="{0E48CF3E-78CA-75DD-556E-C3927B82833D}"/>
          </ac:spMkLst>
        </pc:spChg>
        <pc:spChg chg="add mod">
          <ac:chgData name="CHEN JINGSI" userId="2c6a6994-749a-46da-a9cf-6c6b6bb4c573" providerId="ADAL" clId="{DD493BD8-4BD7-A143-86F6-3B7B220F2C19}" dt="2023-05-08T20:38:34.916" v="480" actId="207"/>
          <ac:spMkLst>
            <pc:docMk/>
            <pc:sldMk cId="24899032" sldId="338"/>
            <ac:spMk id="38" creationId="{AD72AC42-1493-CC3D-1665-5B281266BDAB}"/>
          </ac:spMkLst>
        </pc:spChg>
        <pc:spChg chg="mod">
          <ac:chgData name="CHEN JINGSI" userId="2c6a6994-749a-46da-a9cf-6c6b6bb4c573" providerId="ADAL" clId="{DD493BD8-4BD7-A143-86F6-3B7B220F2C19}" dt="2023-05-08T20:30:53.710" v="383" actId="1038"/>
          <ac:spMkLst>
            <pc:docMk/>
            <pc:sldMk cId="24899032" sldId="338"/>
            <ac:spMk id="40" creationId="{C9E1D60A-A28C-AE66-FADB-380ECAEB47A3}"/>
          </ac:spMkLst>
        </pc:spChg>
        <pc:spChg chg="mod">
          <ac:chgData name="CHEN JINGSI" userId="2c6a6994-749a-46da-a9cf-6c6b6bb4c573" providerId="ADAL" clId="{DD493BD8-4BD7-A143-86F6-3B7B220F2C19}" dt="2023-05-08T20:31:00.712" v="385" actId="1038"/>
          <ac:spMkLst>
            <pc:docMk/>
            <pc:sldMk cId="24899032" sldId="338"/>
            <ac:spMk id="42" creationId="{940D8ECE-FD86-6788-66A0-DCCC250B835C}"/>
          </ac:spMkLst>
        </pc:spChg>
        <pc:spChg chg="mod">
          <ac:chgData name="CHEN JINGSI" userId="2c6a6994-749a-46da-a9cf-6c6b6bb4c573" providerId="ADAL" clId="{DD493BD8-4BD7-A143-86F6-3B7B220F2C19}" dt="2023-05-08T20:29:50.479" v="370" actId="164"/>
          <ac:spMkLst>
            <pc:docMk/>
            <pc:sldMk cId="24899032" sldId="338"/>
            <ac:spMk id="43" creationId="{C3391B28-5B9E-2AE1-52B0-B18B14266ACB}"/>
          </ac:spMkLst>
        </pc:spChg>
        <pc:grpChg chg="mod">
          <ac:chgData name="CHEN JINGSI" userId="2c6a6994-749a-46da-a9cf-6c6b6bb4c573" providerId="ADAL" clId="{DD493BD8-4BD7-A143-86F6-3B7B220F2C19}" dt="2023-05-08T20:29:50.479" v="370" actId="164"/>
          <ac:grpSpMkLst>
            <pc:docMk/>
            <pc:sldMk cId="24899032" sldId="338"/>
            <ac:grpSpMk id="26" creationId="{B1D181CC-764B-FE69-969D-364EBB641E7E}"/>
          </ac:grpSpMkLst>
        </pc:grpChg>
        <pc:grpChg chg="add mod">
          <ac:chgData name="CHEN JINGSI" userId="2c6a6994-749a-46da-a9cf-6c6b6bb4c573" providerId="ADAL" clId="{DD493BD8-4BD7-A143-86F6-3B7B220F2C19}" dt="2023-05-08T20:32:44.558" v="432" actId="164"/>
          <ac:grpSpMkLst>
            <pc:docMk/>
            <pc:sldMk cId="24899032" sldId="338"/>
            <ac:grpSpMk id="29" creationId="{A814D67B-EF6B-4F8C-9B84-CC25DC3E8126}"/>
          </ac:grpSpMkLst>
        </pc:grpChg>
        <pc:grpChg chg="add mod">
          <ac:chgData name="CHEN JINGSI" userId="2c6a6994-749a-46da-a9cf-6c6b6bb4c573" providerId="ADAL" clId="{DD493BD8-4BD7-A143-86F6-3B7B220F2C19}" dt="2023-05-08T20:35:50.225" v="450" actId="1076"/>
          <ac:grpSpMkLst>
            <pc:docMk/>
            <pc:sldMk cId="24899032" sldId="338"/>
            <ac:grpSpMk id="31" creationId="{3F3C0EC7-5A26-7887-A78B-A78A7C815167}"/>
          </ac:grpSpMkLst>
        </pc:grpChg>
        <pc:picChg chg="mod">
          <ac:chgData name="CHEN JINGSI" userId="2c6a6994-749a-46da-a9cf-6c6b6bb4c573" providerId="ADAL" clId="{DD493BD8-4BD7-A143-86F6-3B7B220F2C19}" dt="2023-05-08T20:35:21.974" v="443" actId="1076"/>
          <ac:picMkLst>
            <pc:docMk/>
            <pc:sldMk cId="24899032" sldId="338"/>
            <ac:picMk id="11" creationId="{3D218603-B7BB-E43D-30FD-6AF53E302303}"/>
          </ac:picMkLst>
        </pc:picChg>
      </pc:sldChg>
      <pc:sldChg chg="modSp mod">
        <pc:chgData name="CHEN JINGSI" userId="2c6a6994-749a-46da-a9cf-6c6b6bb4c573" providerId="ADAL" clId="{DD493BD8-4BD7-A143-86F6-3B7B220F2C19}" dt="2023-05-08T20:10:41.266" v="196" actId="20577"/>
        <pc:sldMkLst>
          <pc:docMk/>
          <pc:sldMk cId="565063595" sldId="340"/>
        </pc:sldMkLst>
        <pc:spChg chg="mod">
          <ac:chgData name="CHEN JINGSI" userId="2c6a6994-749a-46da-a9cf-6c6b6bb4c573" providerId="ADAL" clId="{DD493BD8-4BD7-A143-86F6-3B7B220F2C19}" dt="2023-05-08T20:10:41.266" v="196" actId="20577"/>
          <ac:spMkLst>
            <pc:docMk/>
            <pc:sldMk cId="565063595" sldId="340"/>
            <ac:spMk id="2" creationId="{00000000-0000-0000-0000-000000000000}"/>
          </ac:spMkLst>
        </pc:spChg>
      </pc:sldChg>
      <pc:sldChg chg="modSp mod">
        <pc:chgData name="CHEN JINGSI" userId="2c6a6994-749a-46da-a9cf-6c6b6bb4c573" providerId="ADAL" clId="{DD493BD8-4BD7-A143-86F6-3B7B220F2C19}" dt="2023-05-08T20:10:48.848" v="197" actId="20577"/>
        <pc:sldMkLst>
          <pc:docMk/>
          <pc:sldMk cId="126589775" sldId="345"/>
        </pc:sldMkLst>
        <pc:spChg chg="mod">
          <ac:chgData name="CHEN JINGSI" userId="2c6a6994-749a-46da-a9cf-6c6b6bb4c573" providerId="ADAL" clId="{DD493BD8-4BD7-A143-86F6-3B7B220F2C19}" dt="2023-05-08T20:10:48.848" v="197" actId="20577"/>
          <ac:spMkLst>
            <pc:docMk/>
            <pc:sldMk cId="126589775" sldId="345"/>
            <ac:spMk id="2" creationId="{00000000-0000-0000-0000-000000000000}"/>
          </ac:spMkLst>
        </pc:spChg>
      </pc:sldChg>
      <pc:sldChg chg="modSp mod">
        <pc:chgData name="CHEN JINGSI" userId="2c6a6994-749a-46da-a9cf-6c6b6bb4c573" providerId="ADAL" clId="{DD493BD8-4BD7-A143-86F6-3B7B220F2C19}" dt="2023-05-08T20:10:26.631" v="191" actId="20577"/>
        <pc:sldMkLst>
          <pc:docMk/>
          <pc:sldMk cId="2933125713" sldId="352"/>
        </pc:sldMkLst>
        <pc:spChg chg="mod">
          <ac:chgData name="CHEN JINGSI" userId="2c6a6994-749a-46da-a9cf-6c6b6bb4c573" providerId="ADAL" clId="{DD493BD8-4BD7-A143-86F6-3B7B220F2C19}" dt="2023-05-08T20:10:26.631" v="191" actId="20577"/>
          <ac:spMkLst>
            <pc:docMk/>
            <pc:sldMk cId="2933125713" sldId="352"/>
            <ac:spMk id="2" creationId="{00000000-0000-0000-0000-000000000000}"/>
          </ac:spMkLst>
        </pc:spChg>
      </pc:sldChg>
      <pc:sldChg chg="modNotesTx">
        <pc:chgData name="CHEN JINGSI" userId="2c6a6994-749a-46da-a9cf-6c6b6bb4c573" providerId="ADAL" clId="{DD493BD8-4BD7-A143-86F6-3B7B220F2C19}" dt="2023-05-08T20:08:56.185" v="170" actId="20577"/>
        <pc:sldMkLst>
          <pc:docMk/>
          <pc:sldMk cId="2483509572" sldId="353"/>
        </pc:sldMkLst>
      </pc:sldChg>
      <pc:sldChg chg="modSp mod">
        <pc:chgData name="CHEN JINGSI" userId="2c6a6994-749a-46da-a9cf-6c6b6bb4c573" providerId="ADAL" clId="{DD493BD8-4BD7-A143-86F6-3B7B220F2C19}" dt="2023-05-08T20:10:31.444" v="195" actId="20577"/>
        <pc:sldMkLst>
          <pc:docMk/>
          <pc:sldMk cId="1887058106" sldId="354"/>
        </pc:sldMkLst>
        <pc:spChg chg="mod">
          <ac:chgData name="CHEN JINGSI" userId="2c6a6994-749a-46da-a9cf-6c6b6bb4c573" providerId="ADAL" clId="{DD493BD8-4BD7-A143-86F6-3B7B220F2C19}" dt="2023-05-08T20:10:31.444" v="195" actId="20577"/>
          <ac:spMkLst>
            <pc:docMk/>
            <pc:sldMk cId="1887058106" sldId="354"/>
            <ac:spMk id="2" creationId="{00000000-0000-0000-0000-000000000000}"/>
          </ac:spMkLst>
        </pc:spChg>
      </pc:sldChg>
      <pc:sldChg chg="delSp modSp add mod">
        <pc:chgData name="CHEN JINGSI" userId="2c6a6994-749a-46da-a9cf-6c6b6bb4c573" providerId="ADAL" clId="{DD493BD8-4BD7-A143-86F6-3B7B220F2C19}" dt="2023-05-08T20:11:05.564" v="210" actId="20577"/>
        <pc:sldMkLst>
          <pc:docMk/>
          <pc:sldMk cId="2954245266" sldId="355"/>
        </pc:sldMkLst>
        <pc:spChg chg="mod">
          <ac:chgData name="CHEN JINGSI" userId="2c6a6994-749a-46da-a9cf-6c6b6bb4c573" providerId="ADAL" clId="{DD493BD8-4BD7-A143-86F6-3B7B220F2C19}" dt="2023-05-08T20:11:05.564" v="210" actId="20577"/>
          <ac:spMkLst>
            <pc:docMk/>
            <pc:sldMk cId="2954245266" sldId="355"/>
            <ac:spMk id="2" creationId="{00000000-0000-0000-0000-000000000000}"/>
          </ac:spMkLst>
        </pc:spChg>
        <pc:spChg chg="del">
          <ac:chgData name="CHEN JINGSI" userId="2c6a6994-749a-46da-a9cf-6c6b6bb4c573" providerId="ADAL" clId="{DD493BD8-4BD7-A143-86F6-3B7B220F2C19}" dt="2023-05-08T20:10:58.340" v="200" actId="478"/>
          <ac:spMkLst>
            <pc:docMk/>
            <pc:sldMk cId="2954245266" sldId="355"/>
            <ac:spMk id="7" creationId="{3B86F339-C48E-7335-81B4-1B1FFF81CD19}"/>
          </ac:spMkLst>
        </pc:spChg>
        <pc:picChg chg="del">
          <ac:chgData name="CHEN JINGSI" userId="2c6a6994-749a-46da-a9cf-6c6b6bb4c573" providerId="ADAL" clId="{DD493BD8-4BD7-A143-86F6-3B7B220F2C19}" dt="2023-05-08T20:10:56.862" v="199" actId="478"/>
          <ac:picMkLst>
            <pc:docMk/>
            <pc:sldMk cId="2954245266" sldId="355"/>
            <ac:picMk id="9" creationId="{F8BE53EE-9E6C-457C-31D0-6F27458CDB19}"/>
          </ac:picMkLst>
        </pc:picChg>
        <pc:picChg chg="del">
          <ac:chgData name="CHEN JINGSI" userId="2c6a6994-749a-46da-a9cf-6c6b6bb4c573" providerId="ADAL" clId="{DD493BD8-4BD7-A143-86F6-3B7B220F2C19}" dt="2023-05-08T20:10:59.062" v="201" actId="478"/>
          <ac:picMkLst>
            <pc:docMk/>
            <pc:sldMk cId="2954245266" sldId="355"/>
            <ac:picMk id="10" creationId="{5903794A-3D2D-133F-ABD7-5BBE56C50851}"/>
          </ac:picMkLst>
        </pc:picChg>
      </pc:sldChg>
      <pc:sldChg chg="delSp modSp add mod">
        <pc:chgData name="CHEN JINGSI" userId="2c6a6994-749a-46da-a9cf-6c6b6bb4c573" providerId="ADAL" clId="{DD493BD8-4BD7-A143-86F6-3B7B220F2C19}" dt="2023-05-08T20:16:05.226" v="236" actId="207"/>
        <pc:sldMkLst>
          <pc:docMk/>
          <pc:sldMk cId="324668933" sldId="356"/>
        </pc:sldMkLst>
        <pc:spChg chg="mod">
          <ac:chgData name="CHEN JINGSI" userId="2c6a6994-749a-46da-a9cf-6c6b6bb4c573" providerId="ADAL" clId="{DD493BD8-4BD7-A143-86F6-3B7B220F2C19}" dt="2023-05-08T20:14:59.583" v="226" actId="20577"/>
          <ac:spMkLst>
            <pc:docMk/>
            <pc:sldMk cId="324668933" sldId="356"/>
            <ac:spMk id="2" creationId="{00000000-0000-0000-0000-000000000000}"/>
          </ac:spMkLst>
        </pc:spChg>
        <pc:spChg chg="del">
          <ac:chgData name="CHEN JINGSI" userId="2c6a6994-749a-46da-a9cf-6c6b6bb4c573" providerId="ADAL" clId="{DD493BD8-4BD7-A143-86F6-3B7B220F2C19}" dt="2023-05-08T20:15:20.956" v="230" actId="478"/>
          <ac:spMkLst>
            <pc:docMk/>
            <pc:sldMk cId="324668933" sldId="356"/>
            <ac:spMk id="11" creationId="{6F1FE2F3-EE9B-F60F-16D3-3D5FDF31797D}"/>
          </ac:spMkLst>
        </pc:spChg>
        <pc:spChg chg="del">
          <ac:chgData name="CHEN JINGSI" userId="2c6a6994-749a-46da-a9cf-6c6b6bb4c573" providerId="ADAL" clId="{DD493BD8-4BD7-A143-86F6-3B7B220F2C19}" dt="2023-05-08T20:15:11.303" v="229" actId="478"/>
          <ac:spMkLst>
            <pc:docMk/>
            <pc:sldMk cId="324668933" sldId="356"/>
            <ac:spMk id="26" creationId="{DEBFFDCB-C9A3-D23B-AA95-98463B140246}"/>
          </ac:spMkLst>
        </pc:spChg>
        <pc:spChg chg="mod">
          <ac:chgData name="CHEN JINGSI" userId="2c6a6994-749a-46da-a9cf-6c6b6bb4c573" providerId="ADAL" clId="{DD493BD8-4BD7-A143-86F6-3B7B220F2C19}" dt="2023-05-08T20:15:50.813" v="234" actId="207"/>
          <ac:spMkLst>
            <pc:docMk/>
            <pc:sldMk cId="324668933" sldId="356"/>
            <ac:spMk id="32" creationId="{65F158BF-737D-0E04-123C-FDED11EA1492}"/>
          </ac:spMkLst>
        </pc:spChg>
        <pc:spChg chg="mod">
          <ac:chgData name="CHEN JINGSI" userId="2c6a6994-749a-46da-a9cf-6c6b6bb4c573" providerId="ADAL" clId="{DD493BD8-4BD7-A143-86F6-3B7B220F2C19}" dt="2023-05-08T20:16:05.226" v="236" actId="207"/>
          <ac:spMkLst>
            <pc:docMk/>
            <pc:sldMk cId="324668933" sldId="356"/>
            <ac:spMk id="41" creationId="{6BFF0187-9C55-2864-733A-E686C13A855B}"/>
          </ac:spMkLst>
        </pc:spChg>
        <pc:grpChg chg="del">
          <ac:chgData name="CHEN JINGSI" userId="2c6a6994-749a-46da-a9cf-6c6b6bb4c573" providerId="ADAL" clId="{DD493BD8-4BD7-A143-86F6-3B7B220F2C19}" dt="2023-05-08T20:15:09.904" v="228" actId="478"/>
          <ac:grpSpMkLst>
            <pc:docMk/>
            <pc:sldMk cId="324668933" sldId="356"/>
            <ac:grpSpMk id="24" creationId="{DC9A4268-0E5D-ADF3-7156-B3A3E88059C2}"/>
          </ac:grpSpMkLst>
        </pc:grpChg>
        <pc:grpChg chg="del">
          <ac:chgData name="CHEN JINGSI" userId="2c6a6994-749a-46da-a9cf-6c6b6bb4c573" providerId="ADAL" clId="{DD493BD8-4BD7-A143-86F6-3B7B220F2C19}" dt="2023-05-08T20:15:09.411" v="227" actId="478"/>
          <ac:grpSpMkLst>
            <pc:docMk/>
            <pc:sldMk cId="324668933" sldId="356"/>
            <ac:grpSpMk id="30" creationId="{65FFC82D-7D71-3EDD-8E55-D5949AEC0ED3}"/>
          </ac:grpSpMkLst>
        </pc:grpChg>
      </pc:sldChg>
    </pc:docChg>
  </pc:docChgLst>
  <pc:docChgLst>
    <pc:chgData name="HUANG LIN" userId="S::s301266@studenti.polito.it::1b5dcee7-0d99-405d-a0f0-637f14b99ad0" providerId="AD" clId="Web-{4C84965E-4DF3-44A2-ADD5-EA2B0C3C1784}"/>
    <pc:docChg chg="modSld">
      <pc:chgData name="HUANG LIN" userId="S::s301266@studenti.polito.it::1b5dcee7-0d99-405d-a0f0-637f14b99ad0" providerId="AD" clId="Web-{4C84965E-4DF3-44A2-ADD5-EA2B0C3C1784}" dt="2023-05-09T00:03:03.339" v="3"/>
      <pc:docMkLst>
        <pc:docMk/>
      </pc:docMkLst>
      <pc:sldChg chg="addSp delSp modSp">
        <pc:chgData name="HUANG LIN" userId="S::s301266@studenti.polito.it::1b5dcee7-0d99-405d-a0f0-637f14b99ad0" providerId="AD" clId="Web-{4C84965E-4DF3-44A2-ADD5-EA2B0C3C1784}" dt="2023-05-09T00:03:03.339" v="3"/>
        <pc:sldMkLst>
          <pc:docMk/>
          <pc:sldMk cId="402974724" sldId="349"/>
        </pc:sldMkLst>
        <pc:spChg chg="add del mod">
          <ac:chgData name="HUANG LIN" userId="S::s301266@studenti.polito.it::1b5dcee7-0d99-405d-a0f0-637f14b99ad0" providerId="AD" clId="Web-{4C84965E-4DF3-44A2-ADD5-EA2B0C3C1784}" dt="2023-05-09T00:03:03.339" v="3"/>
          <ac:spMkLst>
            <pc:docMk/>
            <pc:sldMk cId="402974724" sldId="349"/>
            <ac:spMk id="2" creationId="{5EEDAFAD-40F7-5456-EBBC-70323EB35728}"/>
          </ac:spMkLst>
        </pc:spChg>
      </pc:sldChg>
    </pc:docChg>
  </pc:docChgLst>
  <pc:docChgLst>
    <pc:chgData name="CHEN JINGSI" userId="S::s296135@studenti.polito.it::2c6a6994-749a-46da-a9cf-6c6b6bb4c573" providerId="AD" clId="Web-{454802DB-0A61-464E-B499-69C55D0F37A1}"/>
    <pc:docChg chg="modSld">
      <pc:chgData name="CHEN JINGSI" userId="S::s296135@studenti.polito.it::2c6a6994-749a-46da-a9cf-6c6b6bb4c573" providerId="AD" clId="Web-{454802DB-0A61-464E-B499-69C55D0F37A1}" dt="2023-05-16T22:50:46.333" v="9" actId="20577"/>
      <pc:docMkLst>
        <pc:docMk/>
      </pc:docMkLst>
      <pc:sldChg chg="modSp">
        <pc:chgData name="CHEN JINGSI" userId="S::s296135@studenti.polito.it::2c6a6994-749a-46da-a9cf-6c6b6bb4c573" providerId="AD" clId="Web-{454802DB-0A61-464E-B499-69C55D0F37A1}" dt="2023-05-16T22:50:46.333" v="9" actId="20577"/>
        <pc:sldMkLst>
          <pc:docMk/>
          <pc:sldMk cId="1887058106" sldId="354"/>
        </pc:sldMkLst>
        <pc:spChg chg="mod">
          <ac:chgData name="CHEN JINGSI" userId="S::s296135@studenti.polito.it::2c6a6994-749a-46da-a9cf-6c6b6bb4c573" providerId="AD" clId="Web-{454802DB-0A61-464E-B499-69C55D0F37A1}" dt="2023-05-16T22:50:46.333" v="9" actId="20577"/>
          <ac:spMkLst>
            <pc:docMk/>
            <pc:sldMk cId="1887058106" sldId="354"/>
            <ac:spMk id="9" creationId="{9CF67051-C77F-48AE-22B6-C29BCB4154F4}"/>
          </ac:spMkLst>
        </pc:spChg>
      </pc:sldChg>
    </pc:docChg>
  </pc:docChgLst>
  <pc:docChgLst>
    <pc:chgData name="HUANG LIN" userId="S::s301266@studenti.polito.it::1b5dcee7-0d99-405d-a0f0-637f14b99ad0" providerId="AD" clId="Web-{B9CAB386-E3C5-446C-BC33-9187DCD6AE5E}"/>
    <pc:docChg chg="modSld">
      <pc:chgData name="HUANG LIN" userId="S::s301266@studenti.polito.it::1b5dcee7-0d99-405d-a0f0-637f14b99ad0" providerId="AD" clId="Web-{B9CAB386-E3C5-446C-BC33-9187DCD6AE5E}" dt="2023-05-09T23:08:40.205" v="216" actId="20577"/>
      <pc:docMkLst>
        <pc:docMk/>
      </pc:docMkLst>
      <pc:sldChg chg="modSp">
        <pc:chgData name="HUANG LIN" userId="S::s301266@studenti.polito.it::1b5dcee7-0d99-405d-a0f0-637f14b99ad0" providerId="AD" clId="Web-{B9CAB386-E3C5-446C-BC33-9187DCD6AE5E}" dt="2023-05-09T23:08:00.376" v="214" actId="1076"/>
        <pc:sldMkLst>
          <pc:docMk/>
          <pc:sldMk cId="444038034" sldId="323"/>
        </pc:sldMkLst>
        <pc:spChg chg="mod">
          <ac:chgData name="HUANG LIN" userId="S::s301266@studenti.polito.it::1b5dcee7-0d99-405d-a0f0-637f14b99ad0" providerId="AD" clId="Web-{B9CAB386-E3C5-446C-BC33-9187DCD6AE5E}" dt="2023-05-09T23:08:00.376" v="214" actId="1076"/>
          <ac:spMkLst>
            <pc:docMk/>
            <pc:sldMk cId="444038034" sldId="323"/>
            <ac:spMk id="5" creationId="{B1453B25-3D98-76CC-52F2-A65940944E5C}"/>
          </ac:spMkLst>
        </pc:spChg>
        <pc:cxnChg chg="mod">
          <ac:chgData name="HUANG LIN" userId="S::s301266@studenti.polito.it::1b5dcee7-0d99-405d-a0f0-637f14b99ad0" providerId="AD" clId="Web-{B9CAB386-E3C5-446C-BC33-9187DCD6AE5E}" dt="2023-05-09T23:07:46.314" v="211" actId="1076"/>
          <ac:cxnSpMkLst>
            <pc:docMk/>
            <pc:sldMk cId="444038034" sldId="323"/>
            <ac:cxnSpMk id="8" creationId="{4BCFBBBC-DB9B-9C07-886F-22C72B5A7E86}"/>
          </ac:cxnSpMkLst>
        </pc:cxnChg>
        <pc:cxnChg chg="mod">
          <ac:chgData name="HUANG LIN" userId="S::s301266@studenti.polito.it::1b5dcee7-0d99-405d-a0f0-637f14b99ad0" providerId="AD" clId="Web-{B9CAB386-E3C5-446C-BC33-9187DCD6AE5E}" dt="2023-05-09T23:07:56.423" v="213" actId="1076"/>
          <ac:cxnSpMkLst>
            <pc:docMk/>
            <pc:sldMk cId="444038034" sldId="323"/>
            <ac:cxnSpMk id="9" creationId="{D323EE1D-7F6D-34BF-B989-E9591F02848C}"/>
          </ac:cxnSpMkLst>
        </pc:cxnChg>
      </pc:sldChg>
      <pc:sldChg chg="addSp delSp modSp mod setClrOvrMap">
        <pc:chgData name="HUANG LIN" userId="S::s301266@studenti.polito.it::1b5dcee7-0d99-405d-a0f0-637f14b99ad0" providerId="AD" clId="Web-{B9CAB386-E3C5-446C-BC33-9187DCD6AE5E}" dt="2023-05-09T22:52:33.899" v="47" actId="20577"/>
        <pc:sldMkLst>
          <pc:docMk/>
          <pc:sldMk cId="3465091535" sldId="347"/>
        </pc:sldMkLst>
        <pc:spChg chg="mod">
          <ac:chgData name="HUANG LIN" userId="S::s301266@studenti.polito.it::1b5dcee7-0d99-405d-a0f0-637f14b99ad0" providerId="AD" clId="Web-{B9CAB386-E3C5-446C-BC33-9187DCD6AE5E}" dt="2023-05-09T22:50:05.396" v="34"/>
          <ac:spMkLst>
            <pc:docMk/>
            <pc:sldMk cId="3465091535" sldId="347"/>
            <ac:spMk id="4" creationId="{0E732EBC-B0A9-3811-7940-27C4980C9B5D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0:05.396" v="34"/>
          <ac:spMkLst>
            <pc:docMk/>
            <pc:sldMk cId="3465091535" sldId="347"/>
            <ac:spMk id="152" creationId="{BACC6370-2D7E-4714-9D71-7542949D7D5D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0:05.396" v="34"/>
          <ac:spMkLst>
            <pc:docMk/>
            <pc:sldMk cId="3465091535" sldId="347"/>
            <ac:spMk id="154" creationId="{F68B3F68-107C-434F-AA38-110D5EA91B85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0:05.396" v="34"/>
          <ac:spMkLst>
            <pc:docMk/>
            <pc:sldMk cId="3465091535" sldId="347"/>
            <ac:spMk id="156" creationId="{AAD0DBB9-1A4B-4391-81D4-CB19F9AB918A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0:05.396" v="34"/>
          <ac:spMkLst>
            <pc:docMk/>
            <pc:sldMk cId="3465091535" sldId="347"/>
            <ac:spMk id="158" creationId="{063BBA22-50EA-4C4D-BE05-F1CE4E63AA56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0:05.396" v="34"/>
          <ac:spMkLst>
            <pc:docMk/>
            <pc:sldMk cId="3465091535" sldId="347"/>
            <ac:spMk id="163" creationId="{9228552E-C8B1-4A80-8448-0787CE0FC704}"/>
          </ac:spMkLst>
        </pc:spChg>
        <pc:graphicFrameChg chg="add del mod modGraphic">
          <ac:chgData name="HUANG LIN" userId="S::s301266@studenti.polito.it::1b5dcee7-0d99-405d-a0f0-637f14b99ad0" providerId="AD" clId="Web-{B9CAB386-E3C5-446C-BC33-9187DCD6AE5E}" dt="2023-05-09T22:52:33.899" v="47" actId="20577"/>
          <ac:graphicFrameMkLst>
            <pc:docMk/>
            <pc:sldMk cId="3465091535" sldId="347"/>
            <ac:graphicFrameMk id="147" creationId="{4659E555-6CF5-A8E6-9E1A-D52A640D9FFF}"/>
          </ac:graphicFrameMkLst>
        </pc:graphicFrameChg>
      </pc:sldChg>
      <pc:sldChg chg="addSp delSp modSp">
        <pc:chgData name="HUANG LIN" userId="S::s301266@studenti.polito.it::1b5dcee7-0d99-405d-a0f0-637f14b99ad0" providerId="AD" clId="Web-{B9CAB386-E3C5-446C-BC33-9187DCD6AE5E}" dt="2023-05-09T22:57:34.922" v="82"/>
        <pc:sldMkLst>
          <pc:docMk/>
          <pc:sldMk cId="598547174" sldId="348"/>
        </pc:sldMkLst>
        <pc:spChg chg="add del">
          <ac:chgData name="HUANG LIN" userId="S::s301266@studenti.polito.it::1b5dcee7-0d99-405d-a0f0-637f14b99ad0" providerId="AD" clId="Web-{B9CAB386-E3C5-446C-BC33-9187DCD6AE5E}" dt="2023-05-09T22:53:23.493" v="50"/>
          <ac:spMkLst>
            <pc:docMk/>
            <pc:sldMk cId="598547174" sldId="348"/>
            <ac:spMk id="2" creationId="{AAAB8344-1F30-F9C0-3D5F-3CFBE922FF57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4:14.122" v="55"/>
          <ac:spMkLst>
            <pc:docMk/>
            <pc:sldMk cId="598547174" sldId="348"/>
            <ac:spMk id="5" creationId="{016960BB-AE9C-C7E1-9472-89DB23EC6D03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4:40.060" v="59"/>
          <ac:spMkLst>
            <pc:docMk/>
            <pc:sldMk cId="598547174" sldId="348"/>
            <ac:spMk id="7" creationId="{56A54F87-B600-8057-1D25-7863834C9D8A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4:34.872" v="58"/>
          <ac:spMkLst>
            <pc:docMk/>
            <pc:sldMk cId="598547174" sldId="348"/>
            <ac:spMk id="8" creationId="{64B971A3-1AE5-9606-BDE5-EDBA22887F1F}"/>
          </ac:spMkLst>
        </pc:spChg>
        <pc:spChg chg="add mod">
          <ac:chgData name="HUANG LIN" userId="S::s301266@studenti.polito.it::1b5dcee7-0d99-405d-a0f0-637f14b99ad0" providerId="AD" clId="Web-{B9CAB386-E3C5-446C-BC33-9187DCD6AE5E}" dt="2023-05-09T22:57:34.922" v="82"/>
          <ac:spMkLst>
            <pc:docMk/>
            <pc:sldMk cId="598547174" sldId="348"/>
            <ac:spMk id="11" creationId="{B5AAF9ED-E65B-4830-7AA9-0ABF9EA4BBCB}"/>
          </ac:spMkLst>
        </pc:spChg>
        <pc:picChg chg="mod">
          <ac:chgData name="HUANG LIN" userId="S::s301266@studenti.polito.it::1b5dcee7-0d99-405d-a0f0-637f14b99ad0" providerId="AD" clId="Web-{B9CAB386-E3C5-446C-BC33-9187DCD6AE5E}" dt="2023-05-09T22:54:01.106" v="53" actId="1076"/>
          <ac:picMkLst>
            <pc:docMk/>
            <pc:sldMk cId="598547174" sldId="348"/>
            <ac:picMk id="6" creationId="{E19D80CB-3FC8-7BDC-221B-BFCA33059E5C}"/>
          </ac:picMkLst>
        </pc:picChg>
        <pc:inkChg chg="add del">
          <ac:chgData name="HUANG LIN" userId="S::s301266@studenti.polito.it::1b5dcee7-0d99-405d-a0f0-637f14b99ad0" providerId="AD" clId="Web-{B9CAB386-E3C5-446C-BC33-9187DCD6AE5E}" dt="2023-05-09T22:53:53.230" v="52"/>
          <ac:inkMkLst>
            <pc:docMk/>
            <pc:sldMk cId="598547174" sldId="348"/>
            <ac:inkMk id="3" creationId="{91620F07-998A-5375-706E-CB6477C9229B}"/>
          </ac:inkMkLst>
        </pc:inkChg>
        <pc:inkChg chg="add del">
          <ac:chgData name="HUANG LIN" userId="S::s301266@studenti.polito.it::1b5dcee7-0d99-405d-a0f0-637f14b99ad0" providerId="AD" clId="Web-{B9CAB386-E3C5-446C-BC33-9187DCD6AE5E}" dt="2023-05-09T22:55:19.654" v="61"/>
          <ac:inkMkLst>
            <pc:docMk/>
            <pc:sldMk cId="598547174" sldId="348"/>
            <ac:inkMk id="9" creationId="{374674DE-8543-9CF9-6A3A-62A88CC02E24}"/>
          </ac:inkMkLst>
        </pc:inkChg>
        <pc:inkChg chg="add del">
          <ac:chgData name="HUANG LIN" userId="S::s301266@studenti.polito.it::1b5dcee7-0d99-405d-a0f0-637f14b99ad0" providerId="AD" clId="Web-{B9CAB386-E3C5-446C-BC33-9187DCD6AE5E}" dt="2023-05-09T22:55:37.186" v="63"/>
          <ac:inkMkLst>
            <pc:docMk/>
            <pc:sldMk cId="598547174" sldId="348"/>
            <ac:inkMk id="10" creationId="{8B193067-1B41-2EC8-151F-7E28D5BF6D63}"/>
          </ac:inkMkLst>
        </pc:inkChg>
        <pc:inkChg chg="add del">
          <ac:chgData name="HUANG LIN" userId="S::s301266@studenti.polito.it::1b5dcee7-0d99-405d-a0f0-637f14b99ad0" providerId="AD" clId="Web-{B9CAB386-E3C5-446C-BC33-9187DCD6AE5E}" dt="2023-05-09T22:56:09.624" v="70"/>
          <ac:inkMkLst>
            <pc:docMk/>
            <pc:sldMk cId="598547174" sldId="348"/>
            <ac:inkMk id="12" creationId="{A4C28682-EA48-2DDE-26D0-E7AB4ECE1908}"/>
          </ac:inkMkLst>
        </pc:inkChg>
        <pc:inkChg chg="add del">
          <ac:chgData name="HUANG LIN" userId="S::s301266@studenti.polito.it::1b5dcee7-0d99-405d-a0f0-637f14b99ad0" providerId="AD" clId="Web-{B9CAB386-E3C5-446C-BC33-9187DCD6AE5E}" dt="2023-05-09T22:56:06.639" v="69"/>
          <ac:inkMkLst>
            <pc:docMk/>
            <pc:sldMk cId="598547174" sldId="348"/>
            <ac:inkMk id="13" creationId="{E925ED4F-4F96-85B7-7A15-24A661185190}"/>
          </ac:inkMkLst>
        </pc:inkChg>
        <pc:inkChg chg="add del">
          <ac:chgData name="HUANG LIN" userId="S::s301266@studenti.polito.it::1b5dcee7-0d99-405d-a0f0-637f14b99ad0" providerId="AD" clId="Web-{B9CAB386-E3C5-446C-BC33-9187DCD6AE5E}" dt="2023-05-09T22:56:14.780" v="72"/>
          <ac:inkMkLst>
            <pc:docMk/>
            <pc:sldMk cId="598547174" sldId="348"/>
            <ac:inkMk id="14" creationId="{7A9A1987-0FFD-8AE7-8DE8-6B4C22FAB8A5}"/>
          </ac:inkMkLst>
        </pc:inkChg>
        <pc:inkChg chg="add del">
          <ac:chgData name="HUANG LIN" userId="S::s301266@studenti.polito.it::1b5dcee7-0d99-405d-a0f0-637f14b99ad0" providerId="AD" clId="Web-{B9CAB386-E3C5-446C-BC33-9187DCD6AE5E}" dt="2023-05-09T22:56:26.890" v="74"/>
          <ac:inkMkLst>
            <pc:docMk/>
            <pc:sldMk cId="598547174" sldId="348"/>
            <ac:inkMk id="15" creationId="{3BB14F71-8F64-1DC9-F13B-5DA08C743C33}"/>
          </ac:inkMkLst>
        </pc:inkChg>
      </pc:sldChg>
      <pc:sldChg chg="addSp delSp modSp">
        <pc:chgData name="HUANG LIN" userId="S::s301266@studenti.polito.it::1b5dcee7-0d99-405d-a0f0-637f14b99ad0" providerId="AD" clId="Web-{B9CAB386-E3C5-446C-BC33-9187DCD6AE5E}" dt="2023-05-09T23:08:35.658" v="215" actId="20577"/>
        <pc:sldMkLst>
          <pc:docMk/>
          <pc:sldMk cId="402974724" sldId="349"/>
        </pc:sldMkLst>
        <pc:spChg chg="add mod">
          <ac:chgData name="HUANG LIN" userId="S::s301266@studenti.polito.it::1b5dcee7-0d99-405d-a0f0-637f14b99ad0" providerId="AD" clId="Web-{B9CAB386-E3C5-446C-BC33-9187DCD6AE5E}" dt="2023-05-09T23:07:02.453" v="210" actId="1076"/>
          <ac:spMkLst>
            <pc:docMk/>
            <pc:sldMk cId="402974724" sldId="349"/>
            <ac:spMk id="4" creationId="{DCEB6B8F-2A6A-6AAD-CADD-ABCE308E0DC0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3:01:50.786" v="101"/>
          <ac:spMkLst>
            <pc:docMk/>
            <pc:sldMk cId="402974724" sldId="349"/>
            <ac:spMk id="6" creationId="{AF112C30-48EC-F4FA-EB64-97654E164959}"/>
          </ac:spMkLst>
        </pc:spChg>
        <pc:spChg chg="add del mod">
          <ac:chgData name="HUANG LIN" userId="S::s301266@studenti.polito.it::1b5dcee7-0d99-405d-a0f0-637f14b99ad0" providerId="AD" clId="Web-{B9CAB386-E3C5-446C-BC33-9187DCD6AE5E}" dt="2023-05-09T23:08:35.658" v="215" actId="20577"/>
          <ac:spMkLst>
            <pc:docMk/>
            <pc:sldMk cId="402974724" sldId="349"/>
            <ac:spMk id="7" creationId="{CC48D0D3-1DDD-23C3-263E-88FF6EF8A8FC}"/>
          </ac:spMkLst>
        </pc:spChg>
        <pc:picChg chg="add mod">
          <ac:chgData name="HUANG LIN" userId="S::s301266@studenti.polito.it::1b5dcee7-0d99-405d-a0f0-637f14b99ad0" providerId="AD" clId="Web-{B9CAB386-E3C5-446C-BC33-9187DCD6AE5E}" dt="2023-05-09T23:06:59.766" v="209" actId="1076"/>
          <ac:picMkLst>
            <pc:docMk/>
            <pc:sldMk cId="402974724" sldId="349"/>
            <ac:picMk id="2" creationId="{0D5E5A7C-1906-7D62-7BDD-E2BE6F818104}"/>
          </ac:picMkLst>
        </pc:picChg>
        <pc:picChg chg="del">
          <ac:chgData name="HUANG LIN" userId="S::s301266@studenti.polito.it::1b5dcee7-0d99-405d-a0f0-637f14b99ad0" providerId="AD" clId="Web-{B9CAB386-E3C5-446C-BC33-9187DCD6AE5E}" dt="2023-05-09T22:46:00.735" v="1"/>
          <ac:picMkLst>
            <pc:docMk/>
            <pc:sldMk cId="402974724" sldId="349"/>
            <ac:picMk id="28" creationId="{2F48CE8C-38CF-6626-B165-41CF3F28DD8A}"/>
          </ac:picMkLst>
        </pc:picChg>
        <pc:picChg chg="del">
          <ac:chgData name="HUANG LIN" userId="S::s301266@studenti.polito.it::1b5dcee7-0d99-405d-a0f0-637f14b99ad0" providerId="AD" clId="Web-{B9CAB386-E3C5-446C-BC33-9187DCD6AE5E}" dt="2023-05-09T22:45:58.782" v="0"/>
          <ac:picMkLst>
            <pc:docMk/>
            <pc:sldMk cId="402974724" sldId="349"/>
            <ac:picMk id="30" creationId="{D4B1A077-88AC-170D-F385-0F60A9E7A356}"/>
          </ac:picMkLst>
        </pc:picChg>
      </pc:sldChg>
      <pc:sldChg chg="addSp delSp modSp">
        <pc:chgData name="HUANG LIN" userId="S::s301266@studenti.polito.it::1b5dcee7-0d99-405d-a0f0-637f14b99ad0" providerId="AD" clId="Web-{B9CAB386-E3C5-446C-BC33-9187DCD6AE5E}" dt="2023-05-09T23:08:40.205" v="216" actId="20577"/>
        <pc:sldMkLst>
          <pc:docMk/>
          <pc:sldMk cId="2995164932" sldId="350"/>
        </pc:sldMkLst>
        <pc:spChg chg="add mod">
          <ac:chgData name="HUANG LIN" userId="S::s301266@studenti.polito.it::1b5dcee7-0d99-405d-a0f0-637f14b99ad0" providerId="AD" clId="Web-{B9CAB386-E3C5-446C-BC33-9187DCD6AE5E}" dt="2023-05-09T23:06:38.575" v="207" actId="1076"/>
          <ac:spMkLst>
            <pc:docMk/>
            <pc:sldMk cId="2995164932" sldId="350"/>
            <ac:spMk id="6" creationId="{8C85ECFB-E8FE-61E3-0D17-5F6C3C6E348A}"/>
          </ac:spMkLst>
        </pc:spChg>
        <pc:spChg chg="add mod">
          <ac:chgData name="HUANG LIN" userId="S::s301266@studenti.polito.it::1b5dcee7-0d99-405d-a0f0-637f14b99ad0" providerId="AD" clId="Web-{B9CAB386-E3C5-446C-BC33-9187DCD6AE5E}" dt="2023-05-09T23:08:40.205" v="216" actId="20577"/>
          <ac:spMkLst>
            <pc:docMk/>
            <pc:sldMk cId="2995164932" sldId="350"/>
            <ac:spMk id="7" creationId="{77B84CF8-B5DE-C1D2-41B1-1D6055340C6C}"/>
          </ac:spMkLst>
        </pc:spChg>
        <pc:picChg chg="add mod modCrop">
          <ac:chgData name="HUANG LIN" userId="S::s301266@studenti.polito.it::1b5dcee7-0d99-405d-a0f0-637f14b99ad0" providerId="AD" clId="Web-{B9CAB386-E3C5-446C-BC33-9187DCD6AE5E}" dt="2023-05-09T23:06:26.606" v="204" actId="1076"/>
          <ac:picMkLst>
            <pc:docMk/>
            <pc:sldMk cId="2995164932" sldId="350"/>
            <ac:picMk id="2" creationId="{CA9D0704-9E0B-900D-4DB2-5CDEEBFEAD54}"/>
          </ac:picMkLst>
        </pc:picChg>
        <pc:picChg chg="del">
          <ac:chgData name="HUANG LIN" userId="S::s301266@studenti.polito.it::1b5dcee7-0d99-405d-a0f0-637f14b99ad0" providerId="AD" clId="Web-{B9CAB386-E3C5-446C-BC33-9187DCD6AE5E}" dt="2023-05-09T22:46:02.860" v="2"/>
          <ac:picMkLst>
            <pc:docMk/>
            <pc:sldMk cId="2995164932" sldId="350"/>
            <ac:picMk id="3" creationId="{C9755640-43F7-FB3F-2DC1-728B21173E7B}"/>
          </ac:picMkLst>
        </pc:picChg>
        <pc:picChg chg="del">
          <ac:chgData name="HUANG LIN" userId="S::s301266@studenti.polito.it::1b5dcee7-0d99-405d-a0f0-637f14b99ad0" providerId="AD" clId="Web-{B9CAB386-E3C5-446C-BC33-9187DCD6AE5E}" dt="2023-05-09T22:46:04.938" v="3"/>
          <ac:picMkLst>
            <pc:docMk/>
            <pc:sldMk cId="2995164932" sldId="350"/>
            <ac:picMk id="8" creationId="{794FD554-B3F5-E355-298D-FF09AE4CE577}"/>
          </ac:picMkLst>
        </pc:picChg>
      </pc:sldChg>
    </pc:docChg>
  </pc:docChgLst>
  <pc:docChgLst>
    <pc:chgData name="YIN JUN" userId="S::s296134@studenti.polito.it::40f53ba7-6859-4e15-b6a0-4f636ac10741" providerId="AD" clId="Web-{876EA0BE-180B-47AB-8A47-39CFFA58148D}"/>
    <pc:docChg chg="modSld">
      <pc:chgData name="YIN JUN" userId="S::s296134@studenti.polito.it::40f53ba7-6859-4e15-b6a0-4f636ac10741" providerId="AD" clId="Web-{876EA0BE-180B-47AB-8A47-39CFFA58148D}" dt="2023-05-16T17:50:18.311" v="15" actId="1076"/>
      <pc:docMkLst>
        <pc:docMk/>
      </pc:docMkLst>
      <pc:sldChg chg="addSp delSp modSp">
        <pc:chgData name="YIN JUN" userId="S::s296134@studenti.polito.it::40f53ba7-6859-4e15-b6a0-4f636ac10741" providerId="AD" clId="Web-{876EA0BE-180B-47AB-8A47-39CFFA58148D}" dt="2023-05-16T17:50:18.311" v="15" actId="1076"/>
        <pc:sldMkLst>
          <pc:docMk/>
          <pc:sldMk cId="1904998559" sldId="357"/>
        </pc:sldMkLst>
        <pc:picChg chg="add mod">
          <ac:chgData name="YIN JUN" userId="S::s296134@studenti.polito.it::40f53ba7-6859-4e15-b6a0-4f636ac10741" providerId="AD" clId="Web-{876EA0BE-180B-47AB-8A47-39CFFA58148D}" dt="2023-05-16T17:50:16.186" v="14" actId="1076"/>
          <ac:picMkLst>
            <pc:docMk/>
            <pc:sldMk cId="1904998559" sldId="357"/>
            <ac:picMk id="6" creationId="{A0E00ADA-565B-1D28-0FAD-19299323A3CB}"/>
          </ac:picMkLst>
        </pc:picChg>
        <pc:picChg chg="add mod">
          <ac:chgData name="YIN JUN" userId="S::s296134@studenti.polito.it::40f53ba7-6859-4e15-b6a0-4f636ac10741" providerId="AD" clId="Web-{876EA0BE-180B-47AB-8A47-39CFFA58148D}" dt="2023-05-16T17:50:18.311" v="15" actId="1076"/>
          <ac:picMkLst>
            <pc:docMk/>
            <pc:sldMk cId="1904998559" sldId="357"/>
            <ac:picMk id="7" creationId="{E4C36C59-DFF4-DCBB-86E3-15551ED736EC}"/>
          </ac:picMkLst>
        </pc:picChg>
        <pc:picChg chg="del">
          <ac:chgData name="YIN JUN" userId="S::s296134@studenti.polito.it::40f53ba7-6859-4e15-b6a0-4f636ac10741" providerId="AD" clId="Web-{876EA0BE-180B-47AB-8A47-39CFFA58148D}" dt="2023-05-16T17:49:41.826" v="2"/>
          <ac:picMkLst>
            <pc:docMk/>
            <pc:sldMk cId="1904998559" sldId="357"/>
            <ac:picMk id="8" creationId="{B628FD73-96D4-5726-7474-514A9A7E53DC}"/>
          </ac:picMkLst>
        </pc:picChg>
        <pc:picChg chg="del">
          <ac:chgData name="YIN JUN" userId="S::s296134@studenti.polito.it::40f53ba7-6859-4e15-b6a0-4f636ac10741" providerId="AD" clId="Web-{876EA0BE-180B-47AB-8A47-39CFFA58148D}" dt="2023-05-16T17:50:00.452" v="7"/>
          <ac:picMkLst>
            <pc:docMk/>
            <pc:sldMk cId="1904998559" sldId="357"/>
            <ac:picMk id="20" creationId="{48CBD229-16E4-FDFF-706B-5E66703AE618}"/>
          </ac:picMkLst>
        </pc:picChg>
      </pc:sldChg>
    </pc:docChg>
  </pc:docChgLst>
  <pc:docChgLst>
    <pc:chgData name="Li  Yangshihao" userId="S::s302568@studenti.polito.it::ee48da2e-17a2-4953-b1e7-564eeca1e514" providerId="AD" clId="Web-{75FACF3B-181B-46F0-AB2F-7D4CDD15548B}"/>
    <pc:docChg chg="modSld">
      <pc:chgData name="Li  Yangshihao" userId="S::s302568@studenti.polito.it::ee48da2e-17a2-4953-b1e7-564eeca1e514" providerId="AD" clId="Web-{75FACF3B-181B-46F0-AB2F-7D4CDD15548B}" dt="2023-05-17T06:20:53.870" v="6" actId="1076"/>
      <pc:docMkLst>
        <pc:docMk/>
      </pc:docMkLst>
      <pc:sldChg chg="addSp delSp modSp">
        <pc:chgData name="Li  Yangshihao" userId="S::s302568@studenti.polito.it::ee48da2e-17a2-4953-b1e7-564eeca1e514" providerId="AD" clId="Web-{75FACF3B-181B-46F0-AB2F-7D4CDD15548B}" dt="2023-05-17T06:20:53.870" v="6" actId="1076"/>
        <pc:sldMkLst>
          <pc:docMk/>
          <pc:sldMk cId="126589775" sldId="345"/>
        </pc:sldMkLst>
        <pc:picChg chg="del">
          <ac:chgData name="Li  Yangshihao" userId="S::s302568@studenti.polito.it::ee48da2e-17a2-4953-b1e7-564eeca1e514" providerId="AD" clId="Web-{75FACF3B-181B-46F0-AB2F-7D4CDD15548B}" dt="2023-05-17T06:20:18.400" v="0"/>
          <ac:picMkLst>
            <pc:docMk/>
            <pc:sldMk cId="126589775" sldId="345"/>
            <ac:picMk id="3" creationId="{8FFAA7A7-E11F-C850-FEC0-1BAD51904BB2}"/>
          </ac:picMkLst>
        </pc:picChg>
        <pc:picChg chg="add mod">
          <ac:chgData name="Li  Yangshihao" userId="S::s302568@studenti.polito.it::ee48da2e-17a2-4953-b1e7-564eeca1e514" providerId="AD" clId="Web-{75FACF3B-181B-46F0-AB2F-7D4CDD15548B}" dt="2023-05-17T06:20:53.870" v="6" actId="1076"/>
          <ac:picMkLst>
            <pc:docMk/>
            <pc:sldMk cId="126589775" sldId="345"/>
            <ac:picMk id="10" creationId="{981F2B23-4214-F229-63DA-59143174F840}"/>
          </ac:picMkLst>
        </pc:picChg>
      </pc:sldChg>
    </pc:docChg>
  </pc:docChgLst>
  <pc:docChgLst>
    <pc:chgData name="HUANG LIN" userId="S::s301266@studenti.polito.it::1b5dcee7-0d99-405d-a0f0-637f14b99ad0" providerId="AD" clId="Web-{E37CB496-11AD-4885-84B0-E80E92DC8680}"/>
    <pc:docChg chg="modSld sldOrd">
      <pc:chgData name="HUANG LIN" userId="S::s301266@studenti.polito.it::1b5dcee7-0d99-405d-a0f0-637f14b99ad0" providerId="AD" clId="Web-{E37CB496-11AD-4885-84B0-E80E92DC8680}" dt="2023-05-16T21:44:06.957" v="145"/>
      <pc:docMkLst>
        <pc:docMk/>
      </pc:docMkLst>
      <pc:sldChg chg="modSp">
        <pc:chgData name="HUANG LIN" userId="S::s301266@studenti.polito.it::1b5dcee7-0d99-405d-a0f0-637f14b99ad0" providerId="AD" clId="Web-{E37CB496-11AD-4885-84B0-E80E92DC8680}" dt="2023-05-16T19:42:56.869" v="5"/>
        <pc:sldMkLst>
          <pc:docMk/>
          <pc:sldMk cId="3465091535" sldId="347"/>
        </pc:sldMkLst>
        <pc:graphicFrameChg chg="modGraphic">
          <ac:chgData name="HUANG LIN" userId="S::s301266@studenti.polito.it::1b5dcee7-0d99-405d-a0f0-637f14b99ad0" providerId="AD" clId="Web-{E37CB496-11AD-4885-84B0-E80E92DC8680}" dt="2023-05-16T19:42:56.869" v="5"/>
          <ac:graphicFrameMkLst>
            <pc:docMk/>
            <pc:sldMk cId="3465091535" sldId="347"/>
            <ac:graphicFrameMk id="147" creationId="{4659E555-6CF5-A8E6-9E1A-D52A640D9FFF}"/>
          </ac:graphicFrameMkLst>
        </pc:graphicFrameChg>
      </pc:sldChg>
      <pc:sldChg chg="addSp delSp modSp">
        <pc:chgData name="HUANG LIN" userId="S::s301266@studenti.polito.it::1b5dcee7-0d99-405d-a0f0-637f14b99ad0" providerId="AD" clId="Web-{E37CB496-11AD-4885-84B0-E80E92DC8680}" dt="2023-05-16T21:39:09.072" v="89" actId="1076"/>
        <pc:sldMkLst>
          <pc:docMk/>
          <pc:sldMk cId="598547174" sldId="348"/>
        </pc:sldMkLst>
        <pc:spChg chg="mod ord">
          <ac:chgData name="HUANG LIN" userId="S::s301266@studenti.polito.it::1b5dcee7-0d99-405d-a0f0-637f14b99ad0" providerId="AD" clId="Web-{E37CB496-11AD-4885-84B0-E80E92DC8680}" dt="2023-05-16T21:39:09.072" v="89" actId="1076"/>
          <ac:spMkLst>
            <pc:docMk/>
            <pc:sldMk cId="598547174" sldId="348"/>
            <ac:spMk id="11" creationId="{B5AAF9ED-E65B-4830-7AA9-0ABF9EA4BBCB}"/>
          </ac:spMkLst>
        </pc:spChg>
        <pc:picChg chg="add mod">
          <ac:chgData name="HUANG LIN" userId="S::s301266@studenti.polito.it::1b5dcee7-0d99-405d-a0f0-637f14b99ad0" providerId="AD" clId="Web-{E37CB496-11AD-4885-84B0-E80E92DC8680}" dt="2023-05-16T21:39:00.369" v="86" actId="14100"/>
          <ac:picMkLst>
            <pc:docMk/>
            <pc:sldMk cId="598547174" sldId="348"/>
            <ac:picMk id="3" creationId="{79D8C9A7-868E-B6E2-27CC-6C8FC9682208}"/>
          </ac:picMkLst>
        </pc:picChg>
        <pc:picChg chg="del">
          <ac:chgData name="HUANG LIN" userId="S::s301266@studenti.polito.it::1b5dcee7-0d99-405d-a0f0-637f14b99ad0" providerId="AD" clId="Web-{E37CB496-11AD-4885-84B0-E80E92DC8680}" dt="2023-05-16T21:38:15.289" v="67"/>
          <ac:picMkLst>
            <pc:docMk/>
            <pc:sldMk cId="598547174" sldId="348"/>
            <ac:picMk id="4" creationId="{A67BF5C1-A251-2DB2-EC17-A9DD9914A297}"/>
          </ac:picMkLst>
        </pc:picChg>
        <pc:picChg chg="add mod">
          <ac:chgData name="HUANG LIN" userId="S::s301266@studenti.polito.it::1b5dcee7-0d99-405d-a0f0-637f14b99ad0" providerId="AD" clId="Web-{E37CB496-11AD-4885-84B0-E80E92DC8680}" dt="2023-05-16T21:38:51.775" v="84" actId="1076"/>
          <ac:picMkLst>
            <pc:docMk/>
            <pc:sldMk cId="598547174" sldId="348"/>
            <ac:picMk id="5" creationId="{E57ABC0B-C511-800E-FC37-54E3A533DE49}"/>
          </ac:picMkLst>
        </pc:picChg>
        <pc:picChg chg="del">
          <ac:chgData name="HUANG LIN" userId="S::s301266@studenti.polito.it::1b5dcee7-0d99-405d-a0f0-637f14b99ad0" providerId="AD" clId="Web-{E37CB496-11AD-4885-84B0-E80E92DC8680}" dt="2023-05-16T21:38:16.524" v="68"/>
          <ac:picMkLst>
            <pc:docMk/>
            <pc:sldMk cId="598547174" sldId="348"/>
            <ac:picMk id="6" creationId="{E19D80CB-3FC8-7BDC-221B-BFCA33059E5C}"/>
          </ac:picMkLst>
        </pc:picChg>
      </pc:sldChg>
      <pc:sldChg chg="addSp delSp modSp">
        <pc:chgData name="HUANG LIN" userId="S::s301266@studenti.polito.it::1b5dcee7-0d99-405d-a0f0-637f14b99ad0" providerId="AD" clId="Web-{E37CB496-11AD-4885-84B0-E80E92DC8680}" dt="2023-05-16T21:44:06.957" v="145"/>
        <pc:sldMkLst>
          <pc:docMk/>
          <pc:sldMk cId="402974724" sldId="349"/>
        </pc:sldMkLst>
        <pc:spChg chg="mod ord">
          <ac:chgData name="HUANG LIN" userId="S::s301266@studenti.polito.it::1b5dcee7-0d99-405d-a0f0-637f14b99ad0" providerId="AD" clId="Web-{E37CB496-11AD-4885-84B0-E80E92DC8680}" dt="2023-05-16T21:42:51.470" v="130" actId="1076"/>
          <ac:spMkLst>
            <pc:docMk/>
            <pc:sldMk cId="402974724" sldId="349"/>
            <ac:spMk id="4" creationId="{DCEB6B8F-2A6A-6AAD-CADD-ABCE308E0DC0}"/>
          </ac:spMkLst>
        </pc:spChg>
        <pc:spChg chg="add mod">
          <ac:chgData name="HUANG LIN" userId="S::s301266@studenti.polito.it::1b5dcee7-0d99-405d-a0f0-637f14b99ad0" providerId="AD" clId="Web-{E37CB496-11AD-4885-84B0-E80E92DC8680}" dt="2023-05-16T21:44:06.957" v="145"/>
          <ac:spMkLst>
            <pc:docMk/>
            <pc:sldMk cId="402974724" sldId="349"/>
            <ac:spMk id="11" creationId="{15FA3ABB-BF5A-47FB-B8C2-3B67B6917540}"/>
          </ac:spMkLst>
        </pc:spChg>
        <pc:picChg chg="del">
          <ac:chgData name="HUANG LIN" userId="S::s301266@studenti.polito.it::1b5dcee7-0d99-405d-a0f0-637f14b99ad0" providerId="AD" clId="Web-{E37CB496-11AD-4885-84B0-E80E92DC8680}" dt="2023-05-16T20:31:32.866" v="17"/>
          <ac:picMkLst>
            <pc:docMk/>
            <pc:sldMk cId="402974724" sldId="349"/>
            <ac:picMk id="2" creationId="{0D5E5A7C-1906-7D62-7BDD-E2BE6F818104}"/>
          </ac:picMkLst>
        </pc:picChg>
        <pc:picChg chg="add del mod">
          <ac:chgData name="HUANG LIN" userId="S::s301266@studenti.polito.it::1b5dcee7-0d99-405d-a0f0-637f14b99ad0" providerId="AD" clId="Web-{E37CB496-11AD-4885-84B0-E80E92DC8680}" dt="2023-05-16T21:40:11.402" v="99"/>
          <ac:picMkLst>
            <pc:docMk/>
            <pc:sldMk cId="402974724" sldId="349"/>
            <ac:picMk id="3" creationId="{688C27C7-B16D-ABCF-D88A-E4C394B78242}"/>
          </ac:picMkLst>
        </pc:picChg>
        <pc:picChg chg="add mod ord">
          <ac:chgData name="HUANG LIN" userId="S::s301266@studenti.polito.it::1b5dcee7-0d99-405d-a0f0-637f14b99ad0" providerId="AD" clId="Web-{E37CB496-11AD-4885-84B0-E80E92DC8680}" dt="2023-05-16T21:42:59.704" v="132" actId="1076"/>
          <ac:picMkLst>
            <pc:docMk/>
            <pc:sldMk cId="402974724" sldId="349"/>
            <ac:picMk id="6" creationId="{94F96893-2609-3397-F478-593C6F2BCC8B}"/>
          </ac:picMkLst>
        </pc:picChg>
        <pc:picChg chg="add mod">
          <ac:chgData name="HUANG LIN" userId="S::s301266@studenti.polito.it::1b5dcee7-0d99-405d-a0f0-637f14b99ad0" providerId="AD" clId="Web-{E37CB496-11AD-4885-84B0-E80E92DC8680}" dt="2023-05-16T21:42:48.095" v="129" actId="14100"/>
          <ac:picMkLst>
            <pc:docMk/>
            <pc:sldMk cId="402974724" sldId="349"/>
            <ac:picMk id="8" creationId="{138CA12C-A44E-3F79-49CE-94CD05056151}"/>
          </ac:picMkLst>
        </pc:picChg>
      </pc:sldChg>
      <pc:sldChg chg="addSp delSp modSp">
        <pc:chgData name="HUANG LIN" userId="S::s301266@studenti.polito.it::1b5dcee7-0d99-405d-a0f0-637f14b99ad0" providerId="AD" clId="Web-{E37CB496-11AD-4885-84B0-E80E92DC8680}" dt="2023-05-16T21:42:27.391" v="124" actId="14100"/>
        <pc:sldMkLst>
          <pc:docMk/>
          <pc:sldMk cId="2995164932" sldId="350"/>
        </pc:sldMkLst>
        <pc:spChg chg="mod ord">
          <ac:chgData name="HUANG LIN" userId="S::s301266@studenti.polito.it::1b5dcee7-0d99-405d-a0f0-637f14b99ad0" providerId="AD" clId="Web-{E37CB496-11AD-4885-84B0-E80E92DC8680}" dt="2023-05-16T21:42:18.031" v="122" actId="1076"/>
          <ac:spMkLst>
            <pc:docMk/>
            <pc:sldMk cId="2995164932" sldId="350"/>
            <ac:spMk id="6" creationId="{8C85ECFB-E8FE-61E3-0D17-5F6C3C6E348A}"/>
          </ac:spMkLst>
        </pc:spChg>
        <pc:picChg chg="del">
          <ac:chgData name="HUANG LIN" userId="S::s301266@studenti.polito.it::1b5dcee7-0d99-405d-a0f0-637f14b99ad0" providerId="AD" clId="Web-{E37CB496-11AD-4885-84B0-E80E92DC8680}" dt="2023-05-16T20:29:55.347" v="6"/>
          <ac:picMkLst>
            <pc:docMk/>
            <pc:sldMk cId="2995164932" sldId="350"/>
            <ac:picMk id="2" creationId="{CA9D0704-9E0B-900D-4DB2-5CDEEBFEAD54}"/>
          </ac:picMkLst>
        </pc:picChg>
        <pc:picChg chg="add del mod">
          <ac:chgData name="HUANG LIN" userId="S::s301266@studenti.polito.it::1b5dcee7-0d99-405d-a0f0-637f14b99ad0" providerId="AD" clId="Web-{E37CB496-11AD-4885-84B0-E80E92DC8680}" dt="2023-05-16T21:41:35.467" v="114"/>
          <ac:picMkLst>
            <pc:docMk/>
            <pc:sldMk cId="2995164932" sldId="350"/>
            <ac:picMk id="3" creationId="{92F1FA56-C88A-F088-2609-3A8666AB2139}"/>
          </ac:picMkLst>
        </pc:picChg>
        <pc:picChg chg="add mod">
          <ac:chgData name="HUANG LIN" userId="S::s301266@studenti.polito.it::1b5dcee7-0d99-405d-a0f0-637f14b99ad0" providerId="AD" clId="Web-{E37CB496-11AD-4885-84B0-E80E92DC8680}" dt="2023-05-16T21:42:27.391" v="124" actId="14100"/>
          <ac:picMkLst>
            <pc:docMk/>
            <pc:sldMk cId="2995164932" sldId="350"/>
            <ac:picMk id="8" creationId="{6B455D64-698E-D259-A640-BC90117A06D8}"/>
          </ac:picMkLst>
        </pc:picChg>
      </pc:sldChg>
      <pc:sldChg chg="ord">
        <pc:chgData name="HUANG LIN" userId="S::s301266@studenti.polito.it::1b5dcee7-0d99-405d-a0f0-637f14b99ad0" providerId="AD" clId="Web-{E37CB496-11AD-4885-84B0-E80E92DC8680}" dt="2023-05-16T19:42:20.228" v="0"/>
        <pc:sldMkLst>
          <pc:docMk/>
          <pc:sldMk cId="2954245266" sldId="355"/>
        </pc:sldMkLst>
      </pc:sldChg>
      <pc:sldChg chg="addSp delSp modSp">
        <pc:chgData name="HUANG LIN" userId="S::s301266@studenti.polito.it::1b5dcee7-0d99-405d-a0f0-637f14b99ad0" providerId="AD" clId="Web-{E37CB496-11AD-4885-84B0-E80E92DC8680}" dt="2023-05-16T21:43:41.034" v="140" actId="1076"/>
        <pc:sldMkLst>
          <pc:docMk/>
          <pc:sldMk cId="840243874" sldId="358"/>
        </pc:sldMkLst>
        <pc:spChg chg="add mod">
          <ac:chgData name="HUANG LIN" userId="S::s301266@studenti.polito.it::1b5dcee7-0d99-405d-a0f0-637f14b99ad0" providerId="AD" clId="Web-{E37CB496-11AD-4885-84B0-E80E92DC8680}" dt="2023-05-16T21:43:35.924" v="139"/>
          <ac:spMkLst>
            <pc:docMk/>
            <pc:sldMk cId="840243874" sldId="358"/>
            <ac:spMk id="9" creationId="{8AA6D645-53EC-4A14-9352-A308667EBCC9}"/>
          </ac:spMkLst>
        </pc:spChg>
        <pc:picChg chg="add del mod">
          <ac:chgData name="HUANG LIN" userId="S::s301266@studenti.polito.it::1b5dcee7-0d99-405d-a0f0-637f14b99ad0" providerId="AD" clId="Web-{E37CB496-11AD-4885-84B0-E80E92DC8680}" dt="2023-05-16T20:44:48.032" v="46"/>
          <ac:picMkLst>
            <pc:docMk/>
            <pc:sldMk cId="840243874" sldId="358"/>
            <ac:picMk id="3" creationId="{7924F4DB-2CE2-8D3E-5B17-BF5177533D10}"/>
          </ac:picMkLst>
        </pc:picChg>
        <pc:picChg chg="del mod">
          <ac:chgData name="HUANG LIN" userId="S::s301266@studenti.polito.it::1b5dcee7-0d99-405d-a0f0-637f14b99ad0" providerId="AD" clId="Web-{E37CB496-11AD-4885-84B0-E80E92DC8680}" dt="2023-05-16T21:39:15.791" v="90"/>
          <ac:picMkLst>
            <pc:docMk/>
            <pc:sldMk cId="840243874" sldId="358"/>
            <ac:picMk id="4" creationId="{8C3149BC-0D6D-4CF1-2803-10AD9EF79630}"/>
          </ac:picMkLst>
        </pc:picChg>
        <pc:picChg chg="add del mod">
          <ac:chgData name="HUANG LIN" userId="S::s301266@studenti.polito.it::1b5dcee7-0d99-405d-a0f0-637f14b99ad0" providerId="AD" clId="Web-{E37CB496-11AD-4885-84B0-E80E92DC8680}" dt="2023-05-16T20:45:10.611" v="51"/>
          <ac:picMkLst>
            <pc:docMk/>
            <pc:sldMk cId="840243874" sldId="358"/>
            <ac:picMk id="5" creationId="{73F7F57B-7357-0603-AC74-6F45516C279B}"/>
          </ac:picMkLst>
        </pc:picChg>
        <pc:picChg chg="add mod">
          <ac:chgData name="HUANG LIN" userId="S::s301266@studenti.polito.it::1b5dcee7-0d99-405d-a0f0-637f14b99ad0" providerId="AD" clId="Web-{E37CB496-11AD-4885-84B0-E80E92DC8680}" dt="2023-05-16T21:43:41.034" v="140" actId="1076"/>
          <ac:picMkLst>
            <pc:docMk/>
            <pc:sldMk cId="840243874" sldId="358"/>
            <ac:picMk id="6" creationId="{6F900DA2-13B1-6E67-E1D0-9DFEAB5BEEBC}"/>
          </ac:picMkLst>
        </pc:picChg>
        <pc:picChg chg="add mod">
          <ac:chgData name="HUANG LIN" userId="S::s301266@studenti.polito.it::1b5dcee7-0d99-405d-a0f0-637f14b99ad0" providerId="AD" clId="Web-{E37CB496-11AD-4885-84B0-E80E92DC8680}" dt="2023-05-16T21:39:57.777" v="95" actId="1076"/>
          <ac:picMkLst>
            <pc:docMk/>
            <pc:sldMk cId="840243874" sldId="358"/>
            <ac:picMk id="8" creationId="{5322335B-AB22-8914-40EB-DBDB36B71872}"/>
          </ac:picMkLst>
        </pc:picChg>
      </pc:sldChg>
    </pc:docChg>
  </pc:docChgLst>
  <pc:docChgLst>
    <pc:chgData name="CHEN JINGSI" userId="S::s296135@studenti.polito.it::2c6a6994-749a-46da-a9cf-6c6b6bb4c573" providerId="AD" clId="Web-{B46D30E1-38E4-45BA-BF8B-0D3244BD2089}"/>
    <pc:docChg chg="addSld delSld modSld modMainMaster">
      <pc:chgData name="CHEN JINGSI" userId="S::s296135@studenti.polito.it::2c6a6994-749a-46da-a9cf-6c6b6bb4c573" providerId="AD" clId="Web-{B46D30E1-38E4-45BA-BF8B-0D3244BD2089}" dt="2023-05-16T21:38:00.341" v="29"/>
      <pc:docMkLst>
        <pc:docMk/>
      </pc:docMkLst>
      <pc:sldChg chg="modSp">
        <pc:chgData name="CHEN JINGSI" userId="S::s296135@studenti.polito.it::2c6a6994-749a-46da-a9cf-6c6b6bb4c573" providerId="AD" clId="Web-{B46D30E1-38E4-45BA-BF8B-0D3244BD2089}" dt="2023-05-16T21:17:49.157" v="12" actId="20577"/>
        <pc:sldMkLst>
          <pc:docMk/>
          <pc:sldMk cId="0" sldId="256"/>
        </pc:sldMkLst>
        <pc:spChg chg="mod">
          <ac:chgData name="CHEN JINGSI" userId="S::s296135@studenti.polito.it::2c6a6994-749a-46da-a9cf-6c6b6bb4c573" providerId="AD" clId="Web-{B46D30E1-38E4-45BA-BF8B-0D3244BD2089}" dt="2023-05-16T21:17:49.157" v="12" actId="20577"/>
          <ac:spMkLst>
            <pc:docMk/>
            <pc:sldMk cId="0" sldId="256"/>
            <ac:spMk id="5" creationId="{4C51D62C-5F52-EF1C-138B-041679BB5F94}"/>
          </ac:spMkLst>
        </pc:spChg>
        <pc:spChg chg="mod">
          <ac:chgData name="CHEN JINGSI" userId="S::s296135@studenti.polito.it::2c6a6994-749a-46da-a9cf-6c6b6bb4c573" providerId="AD" clId="Web-{B46D30E1-38E4-45BA-BF8B-0D3244BD2089}" dt="2023-05-16T20:26:22.403" v="6" actId="20577"/>
          <ac:spMkLst>
            <pc:docMk/>
            <pc:sldMk cId="0" sldId="256"/>
            <ac:spMk id="11" creationId="{33C6CE68-C2C1-F282-524E-5539C7E285BE}"/>
          </ac:spMkLst>
        </pc:spChg>
      </pc:sldChg>
      <pc:sldChg chg="addSp modSp">
        <pc:chgData name="CHEN JINGSI" userId="S::s296135@studenti.polito.it::2c6a6994-749a-46da-a9cf-6c6b6bb4c573" providerId="AD" clId="Web-{B46D30E1-38E4-45BA-BF8B-0D3244BD2089}" dt="2023-05-16T20:54:13.427" v="9"/>
        <pc:sldMkLst>
          <pc:docMk/>
          <pc:sldMk cId="565063595" sldId="340"/>
        </pc:sldMkLst>
        <pc:spChg chg="add mod">
          <ac:chgData name="CHEN JINGSI" userId="S::s296135@studenti.polito.it::2c6a6994-749a-46da-a9cf-6c6b6bb4c573" providerId="AD" clId="Web-{B46D30E1-38E4-45BA-BF8B-0D3244BD2089}" dt="2023-05-16T20:54:13.427" v="9"/>
          <ac:spMkLst>
            <pc:docMk/>
            <pc:sldMk cId="565063595" sldId="340"/>
            <ac:spMk id="8" creationId="{C14A0DA2-9115-0D2C-2527-349DEF4B1F15}"/>
          </ac:spMkLst>
        </pc:spChg>
      </pc:sldChg>
      <pc:sldChg chg="addSp modSp">
        <pc:chgData name="CHEN JINGSI" userId="S::s296135@studenti.polito.it::2c6a6994-749a-46da-a9cf-6c6b6bb4c573" providerId="AD" clId="Web-{B46D30E1-38E4-45BA-BF8B-0D3244BD2089}" dt="2023-05-16T20:54:28.850" v="11"/>
        <pc:sldMkLst>
          <pc:docMk/>
          <pc:sldMk cId="126589775" sldId="345"/>
        </pc:sldMkLst>
        <pc:spChg chg="add mod">
          <ac:chgData name="CHEN JINGSI" userId="S::s296135@studenti.polito.it::2c6a6994-749a-46da-a9cf-6c6b6bb4c573" providerId="AD" clId="Web-{B46D30E1-38E4-45BA-BF8B-0D3244BD2089}" dt="2023-05-16T20:54:28.850" v="11"/>
          <ac:spMkLst>
            <pc:docMk/>
            <pc:sldMk cId="126589775" sldId="345"/>
            <ac:spMk id="8" creationId="{430F920A-50CA-6113-CB0F-D53D6257AA71}"/>
          </ac:spMkLst>
        </pc:spChg>
      </pc:sldChg>
      <pc:sldChg chg="addSp modSp">
        <pc:chgData name="CHEN JINGSI" userId="S::s296135@studenti.polito.it::2c6a6994-749a-46da-a9cf-6c6b6bb4c573" providerId="AD" clId="Web-{B46D30E1-38E4-45BA-BF8B-0D3244BD2089}" dt="2023-05-16T20:54:28.850" v="11"/>
        <pc:sldMkLst>
          <pc:docMk/>
          <pc:sldMk cId="3465091535" sldId="347"/>
        </pc:sldMkLst>
        <pc:spChg chg="add mod">
          <ac:chgData name="CHEN JINGSI" userId="S::s296135@studenti.polito.it::2c6a6994-749a-46da-a9cf-6c6b6bb4c573" providerId="AD" clId="Web-{B46D30E1-38E4-45BA-BF8B-0D3244BD2089}" dt="2023-05-16T20:54:28.850" v="11"/>
          <ac:spMkLst>
            <pc:docMk/>
            <pc:sldMk cId="3465091535" sldId="347"/>
            <ac:spMk id="23" creationId="{F9A472B6-B894-408B-D098-79DCDB380057}"/>
          </ac:spMkLst>
        </pc:spChg>
      </pc:sldChg>
      <pc:sldChg chg="addSp modSp">
        <pc:chgData name="CHEN JINGSI" userId="S::s296135@studenti.polito.it::2c6a6994-749a-46da-a9cf-6c6b6bb4c573" providerId="AD" clId="Web-{B46D30E1-38E4-45BA-BF8B-0D3244BD2089}" dt="2023-05-16T20:54:28.850" v="11"/>
        <pc:sldMkLst>
          <pc:docMk/>
          <pc:sldMk cId="598547174" sldId="348"/>
        </pc:sldMkLst>
        <pc:spChg chg="add mod">
          <ac:chgData name="CHEN JINGSI" userId="S::s296135@studenti.polito.it::2c6a6994-749a-46da-a9cf-6c6b6bb4c573" providerId="AD" clId="Web-{B46D30E1-38E4-45BA-BF8B-0D3244BD2089}" dt="2023-05-16T20:54:28.850" v="11"/>
          <ac:spMkLst>
            <pc:docMk/>
            <pc:sldMk cId="598547174" sldId="348"/>
            <ac:spMk id="2" creationId="{6F982DBD-1E1D-79E9-C29A-D4CC9C23F2B6}"/>
          </ac:spMkLst>
        </pc:spChg>
      </pc:sldChg>
      <pc:sldChg chg="addSp modSp">
        <pc:chgData name="CHEN JINGSI" userId="S::s296135@studenti.polito.it::2c6a6994-749a-46da-a9cf-6c6b6bb4c573" providerId="AD" clId="Web-{B46D30E1-38E4-45BA-BF8B-0D3244BD2089}" dt="2023-05-16T20:54:28.850" v="11"/>
        <pc:sldMkLst>
          <pc:docMk/>
          <pc:sldMk cId="402974724" sldId="349"/>
        </pc:sldMkLst>
        <pc:spChg chg="add mod">
          <ac:chgData name="CHEN JINGSI" userId="S::s296135@studenti.polito.it::2c6a6994-749a-46da-a9cf-6c6b6bb4c573" providerId="AD" clId="Web-{B46D30E1-38E4-45BA-BF8B-0D3244BD2089}" dt="2023-05-16T20:54:28.850" v="11"/>
          <ac:spMkLst>
            <pc:docMk/>
            <pc:sldMk cId="402974724" sldId="349"/>
            <ac:spMk id="5" creationId="{975020E9-457E-523F-BD43-F4053D54F772}"/>
          </ac:spMkLst>
        </pc:spChg>
      </pc:sldChg>
      <pc:sldChg chg="addSp modSp">
        <pc:chgData name="CHEN JINGSI" userId="S::s296135@studenti.polito.it::2c6a6994-749a-46da-a9cf-6c6b6bb4c573" providerId="AD" clId="Web-{B46D30E1-38E4-45BA-BF8B-0D3244BD2089}" dt="2023-05-16T20:54:28.850" v="11"/>
        <pc:sldMkLst>
          <pc:docMk/>
          <pc:sldMk cId="2995164932" sldId="350"/>
        </pc:sldMkLst>
        <pc:spChg chg="add mod">
          <ac:chgData name="CHEN JINGSI" userId="S::s296135@studenti.polito.it::2c6a6994-749a-46da-a9cf-6c6b6bb4c573" providerId="AD" clId="Web-{B46D30E1-38E4-45BA-BF8B-0D3244BD2089}" dt="2023-05-16T20:54:28.850" v="11"/>
          <ac:spMkLst>
            <pc:docMk/>
            <pc:sldMk cId="2995164932" sldId="350"/>
            <ac:spMk id="5" creationId="{AD2FC826-33C8-AF85-0A87-C093C5E30945}"/>
          </ac:spMkLst>
        </pc:spChg>
      </pc:sldChg>
      <pc:sldChg chg="addSp delSp modSp del">
        <pc:chgData name="CHEN JINGSI" userId="S::s296135@studenti.polito.it::2c6a6994-749a-46da-a9cf-6c6b6bb4c573" providerId="AD" clId="Web-{B46D30E1-38E4-45BA-BF8B-0D3244BD2089}" dt="2023-05-16T21:38:00.341" v="29"/>
        <pc:sldMkLst>
          <pc:docMk/>
          <pc:sldMk cId="2933125713" sldId="352"/>
        </pc:sldMkLst>
        <pc:picChg chg="add del mod">
          <ac:chgData name="CHEN JINGSI" userId="S::s296135@studenti.polito.it::2c6a6994-749a-46da-a9cf-6c6b6bb4c573" providerId="AD" clId="Web-{B46D30E1-38E4-45BA-BF8B-0D3244BD2089}" dt="2023-05-16T21:37:29.589" v="27"/>
          <ac:picMkLst>
            <pc:docMk/>
            <pc:sldMk cId="2933125713" sldId="352"/>
            <ac:picMk id="5" creationId="{9B6CE8CB-57E1-0802-8711-0D4A30988350}"/>
          </ac:picMkLst>
        </pc:picChg>
      </pc:sldChg>
      <pc:sldChg chg="addSp modSp">
        <pc:chgData name="CHEN JINGSI" userId="S::s296135@studenti.polito.it::2c6a6994-749a-46da-a9cf-6c6b6bb4c573" providerId="AD" clId="Web-{B46D30E1-38E4-45BA-BF8B-0D3244BD2089}" dt="2023-05-16T20:54:26.068" v="10"/>
        <pc:sldMkLst>
          <pc:docMk/>
          <pc:sldMk cId="2954245266" sldId="355"/>
        </pc:sldMkLst>
        <pc:spChg chg="add mod">
          <ac:chgData name="CHEN JINGSI" userId="S::s296135@studenti.polito.it::2c6a6994-749a-46da-a9cf-6c6b6bb4c573" providerId="AD" clId="Web-{B46D30E1-38E4-45BA-BF8B-0D3244BD2089}" dt="2023-05-16T20:54:26.068" v="10"/>
          <ac:spMkLst>
            <pc:docMk/>
            <pc:sldMk cId="2954245266" sldId="355"/>
            <ac:spMk id="3" creationId="{16C22C55-2ACF-CF89-DFD2-0C7F6EEBD4A4}"/>
          </ac:spMkLst>
        </pc:spChg>
      </pc:sldChg>
      <pc:sldChg chg="modSp">
        <pc:chgData name="CHEN JINGSI" userId="S::s296135@studenti.polito.it::2c6a6994-749a-46da-a9cf-6c6b6bb4c573" providerId="AD" clId="Web-{B46D30E1-38E4-45BA-BF8B-0D3244BD2089}" dt="2023-05-16T21:19:55.740" v="24"/>
        <pc:sldMkLst>
          <pc:docMk/>
          <pc:sldMk cId="324668933" sldId="356"/>
        </pc:sldMkLst>
        <pc:graphicFrameChg chg="mod modGraphic">
          <ac:chgData name="CHEN JINGSI" userId="S::s296135@studenti.polito.it::2c6a6994-749a-46da-a9cf-6c6b6bb4c573" providerId="AD" clId="Web-{B46D30E1-38E4-45BA-BF8B-0D3244BD2089}" dt="2023-05-16T21:19:55.740" v="24"/>
          <ac:graphicFrameMkLst>
            <pc:docMk/>
            <pc:sldMk cId="324668933" sldId="356"/>
            <ac:graphicFrameMk id="6" creationId="{2A84395D-0707-9424-B95E-E30BE8042836}"/>
          </ac:graphicFrameMkLst>
        </pc:graphicFrameChg>
      </pc:sldChg>
      <pc:sldChg chg="addSp modSp">
        <pc:chgData name="CHEN JINGSI" userId="S::s296135@studenti.polito.it::2c6a6994-749a-46da-a9cf-6c6b6bb4c573" providerId="AD" clId="Web-{B46D30E1-38E4-45BA-BF8B-0D3244BD2089}" dt="2023-05-16T20:54:28.850" v="11"/>
        <pc:sldMkLst>
          <pc:docMk/>
          <pc:sldMk cId="840243874" sldId="358"/>
        </pc:sldMkLst>
        <pc:spChg chg="mod">
          <ac:chgData name="CHEN JINGSI" userId="S::s296135@studenti.polito.it::2c6a6994-749a-46da-a9cf-6c6b6bb4c573" providerId="AD" clId="Web-{B46D30E1-38E4-45BA-BF8B-0D3244BD2089}" dt="2023-05-16T20:52:25.720" v="8" actId="20577"/>
          <ac:spMkLst>
            <pc:docMk/>
            <pc:sldMk cId="840243874" sldId="358"/>
            <ac:spMk id="2" creationId="{5DC741E7-F1D6-B009-10CF-6058F6D0A583}"/>
          </ac:spMkLst>
        </pc:spChg>
        <pc:spChg chg="add mod">
          <ac:chgData name="CHEN JINGSI" userId="S::s296135@studenti.polito.it::2c6a6994-749a-46da-a9cf-6c6b6bb4c573" providerId="AD" clId="Web-{B46D30E1-38E4-45BA-BF8B-0D3244BD2089}" dt="2023-05-16T20:54:28.850" v="11"/>
          <ac:spMkLst>
            <pc:docMk/>
            <pc:sldMk cId="840243874" sldId="358"/>
            <ac:spMk id="7" creationId="{44B15794-19CC-13A3-A18E-31D1FE17F689}"/>
          </ac:spMkLst>
        </pc:spChg>
      </pc:sldChg>
      <pc:sldChg chg="add">
        <pc:chgData name="CHEN JINGSI" userId="S::s296135@studenti.polito.it::2c6a6994-749a-46da-a9cf-6c6b6bb4c573" providerId="AD" clId="Web-{B46D30E1-38E4-45BA-BF8B-0D3244BD2089}" dt="2023-05-16T21:37:42.231" v="28"/>
        <pc:sldMkLst>
          <pc:docMk/>
          <pc:sldMk cId="2016988480" sldId="361"/>
        </pc:sldMkLst>
      </pc:sldChg>
      <pc:sldMasterChg chg="mod addSldLayout modSldLayout">
        <pc:chgData name="CHEN JINGSI" userId="S::s296135@studenti.polito.it::2c6a6994-749a-46da-a9cf-6c6b6bb4c573" providerId="AD" clId="Web-{B46D30E1-38E4-45BA-BF8B-0D3244BD2089}" dt="2023-05-16T21:37:42.231" v="28"/>
        <pc:sldMasterMkLst>
          <pc:docMk/>
          <pc:sldMasterMk cId="0" sldId="2147483664"/>
        </pc:sldMasterMkLst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64"/>
            <pc:sldLayoutMk cId="0" sldId="2147483665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64"/>
            <pc:sldLayoutMk cId="0" sldId="2147483666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64"/>
            <pc:sldLayoutMk cId="0" sldId="2147483667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64"/>
            <pc:sldLayoutMk cId="0" sldId="2147483668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64"/>
            <pc:sldLayoutMk cId="0" sldId="2147483669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64"/>
            <pc:sldLayoutMk cId="0" sldId="2147483670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64"/>
            <pc:sldLayoutMk cId="0" sldId="2147483671"/>
          </pc:sldLayoutMkLst>
        </pc:sldLayoutChg>
        <pc:sldLayoutChg chg="add">
          <pc:chgData name="CHEN JINGSI" userId="S::s296135@studenti.polito.it::2c6a6994-749a-46da-a9cf-6c6b6bb4c573" providerId="AD" clId="Web-{B46D30E1-38E4-45BA-BF8B-0D3244BD2089}" dt="2023-05-16T21:37:42.231" v="28"/>
          <pc:sldLayoutMkLst>
            <pc:docMk/>
            <pc:sldMasterMk cId="0" sldId="2147483664"/>
            <pc:sldLayoutMk cId="0" sldId="2147483676"/>
          </pc:sldLayoutMkLst>
        </pc:sldLayoutChg>
        <pc:sldLayoutChg chg="add">
          <pc:chgData name="CHEN JINGSI" userId="S::s296135@studenti.polito.it::2c6a6994-749a-46da-a9cf-6c6b6bb4c573" providerId="AD" clId="Web-{B46D30E1-38E4-45BA-BF8B-0D3244BD2089}" dt="2023-05-16T21:37:42.231" v="28"/>
          <pc:sldLayoutMkLst>
            <pc:docMk/>
            <pc:sldMasterMk cId="0" sldId="2147483664"/>
            <pc:sldLayoutMk cId="0" sldId="2147483677"/>
          </pc:sldLayoutMkLst>
        </pc:sldLayoutChg>
        <pc:sldLayoutChg chg="add">
          <pc:chgData name="CHEN JINGSI" userId="S::s296135@studenti.polito.it::2c6a6994-749a-46da-a9cf-6c6b6bb4c573" providerId="AD" clId="Web-{B46D30E1-38E4-45BA-BF8B-0D3244BD2089}" dt="2023-05-16T21:37:42.231" v="28"/>
          <pc:sldLayoutMkLst>
            <pc:docMk/>
            <pc:sldMasterMk cId="0" sldId="2147483664"/>
            <pc:sldLayoutMk cId="0" sldId="2147483678"/>
          </pc:sldLayoutMkLst>
        </pc:sldLayoutChg>
        <pc:sldLayoutChg chg="add">
          <pc:chgData name="CHEN JINGSI" userId="S::s296135@studenti.polito.it::2c6a6994-749a-46da-a9cf-6c6b6bb4c573" providerId="AD" clId="Web-{B46D30E1-38E4-45BA-BF8B-0D3244BD2089}" dt="2023-05-16T21:37:42.231" v="28"/>
          <pc:sldLayoutMkLst>
            <pc:docMk/>
            <pc:sldMasterMk cId="0" sldId="2147483664"/>
            <pc:sldLayoutMk cId="0" sldId="2147483679"/>
          </pc:sldLayoutMkLst>
        </pc:sldLayoutChg>
        <pc:sldLayoutChg chg="add">
          <pc:chgData name="CHEN JINGSI" userId="S::s296135@studenti.polito.it::2c6a6994-749a-46da-a9cf-6c6b6bb4c573" providerId="AD" clId="Web-{B46D30E1-38E4-45BA-BF8B-0D3244BD2089}" dt="2023-05-16T21:37:42.231" v="28"/>
          <pc:sldLayoutMkLst>
            <pc:docMk/>
            <pc:sldMasterMk cId="0" sldId="2147483664"/>
            <pc:sldLayoutMk cId="0" sldId="2147483680"/>
          </pc:sldLayoutMkLst>
        </pc:sldLayoutChg>
        <pc:sldLayoutChg chg="add">
          <pc:chgData name="CHEN JINGSI" userId="S::s296135@studenti.polito.it::2c6a6994-749a-46da-a9cf-6c6b6bb4c573" providerId="AD" clId="Web-{B46D30E1-38E4-45BA-BF8B-0D3244BD2089}" dt="2023-05-16T21:37:42.231" v="28"/>
          <pc:sldLayoutMkLst>
            <pc:docMk/>
            <pc:sldMasterMk cId="0" sldId="2147483664"/>
            <pc:sldLayoutMk cId="0" sldId="2147483681"/>
          </pc:sldLayoutMkLst>
        </pc:sldLayoutChg>
        <pc:sldLayoutChg chg="add">
          <pc:chgData name="CHEN JINGSI" userId="S::s296135@studenti.polito.it::2c6a6994-749a-46da-a9cf-6c6b6bb4c573" providerId="AD" clId="Web-{B46D30E1-38E4-45BA-BF8B-0D3244BD2089}" dt="2023-05-16T21:37:42.231" v="28"/>
          <pc:sldLayoutMkLst>
            <pc:docMk/>
            <pc:sldMasterMk cId="0" sldId="2147483664"/>
            <pc:sldLayoutMk cId="0" sldId="2147483682"/>
          </pc:sldLayoutMkLst>
        </pc:sldLayoutChg>
      </pc:sldMasterChg>
      <pc:sldMasterChg chg="mod modSldLayout">
        <pc:chgData name="CHEN JINGSI" userId="S::s296135@studenti.polito.it::2c6a6994-749a-46da-a9cf-6c6b6bb4c573" providerId="AD" clId="Web-{B46D30E1-38E4-45BA-BF8B-0D3244BD2089}" dt="2023-05-16T20:54:28.850" v="11"/>
        <pc:sldMasterMkLst>
          <pc:docMk/>
          <pc:sldMasterMk cId="0" sldId="2147483672"/>
        </pc:sldMasterMkLst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72"/>
            <pc:sldLayoutMk cId="0" sldId="2147483660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72"/>
            <pc:sldLayoutMk cId="0" sldId="2147483661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72"/>
            <pc:sldLayoutMk cId="0" sldId="2147483662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72"/>
            <pc:sldLayoutMk cId="0" sldId="2147483663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72"/>
            <pc:sldLayoutMk cId="0" sldId="2147483673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72"/>
            <pc:sldLayoutMk cId="0" sldId="2147483674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72"/>
            <pc:sldLayoutMk cId="0" sldId="2147483675"/>
          </pc:sldLayoutMkLst>
        </pc:sldLayoutChg>
      </pc:sldMasterChg>
    </pc:docChg>
  </pc:docChgLst>
  <pc:docChgLst>
    <pc:chgData name="Li  Yangshihao" userId="S::s302568@studenti.polito.it::ee48da2e-17a2-4953-b1e7-564eeca1e514" providerId="AD" clId="Web-{3B6EC723-F71F-4E0E-BF3A-B9E7F09A7C9C}"/>
    <pc:docChg chg="modSld">
      <pc:chgData name="Li  Yangshihao" userId="S::s302568@studenti.polito.it::ee48da2e-17a2-4953-b1e7-564eeca1e514" providerId="AD" clId="Web-{3B6EC723-F71F-4E0E-BF3A-B9E7F09A7C9C}" dt="2023-05-16T23:01:46.791" v="524"/>
      <pc:docMkLst>
        <pc:docMk/>
      </pc:docMkLst>
      <pc:sldChg chg="addSp delSp modSp">
        <pc:chgData name="Li  Yangshihao" userId="S::s302568@studenti.polito.it::ee48da2e-17a2-4953-b1e7-564eeca1e514" providerId="AD" clId="Web-{3B6EC723-F71F-4E0E-BF3A-B9E7F09A7C9C}" dt="2023-05-16T23:01:46.791" v="524"/>
        <pc:sldMkLst>
          <pc:docMk/>
          <pc:sldMk cId="3747817912" sldId="362"/>
        </pc:sldMkLst>
        <pc:spChg chg="mod">
          <ac:chgData name="Li  Yangshihao" userId="S::s302568@studenti.polito.it::ee48da2e-17a2-4953-b1e7-564eeca1e514" providerId="AD" clId="Web-{3B6EC723-F71F-4E0E-BF3A-B9E7F09A7C9C}" dt="2023-05-16T22:49:41.395" v="316" actId="1076"/>
          <ac:spMkLst>
            <pc:docMk/>
            <pc:sldMk cId="3747817912" sldId="362"/>
            <ac:spMk id="3" creationId="{16C22C55-2ACF-CF89-DFD2-0C7F6EEBD4A4}"/>
          </ac:spMkLst>
        </pc:spChg>
        <pc:grpChg chg="add del">
          <ac:chgData name="Li  Yangshihao" userId="S::s302568@studenti.polito.it::ee48da2e-17a2-4953-b1e7-564eeca1e514" providerId="AD" clId="Web-{3B6EC723-F71F-4E0E-BF3A-B9E7F09A7C9C}" dt="2023-05-16T22:49:27.801" v="314"/>
          <ac:grpSpMkLst>
            <pc:docMk/>
            <pc:sldMk cId="3747817912" sldId="362"/>
            <ac:grpSpMk id="16" creationId="{699EC985-CC43-9A43-7C3D-046A1902FF8F}"/>
          </ac:grpSpMkLst>
        </pc:grpChg>
        <pc:graphicFrameChg chg="mod modGraphic">
          <ac:chgData name="Li  Yangshihao" userId="S::s302568@studenti.polito.it::ee48da2e-17a2-4953-b1e7-564eeca1e514" providerId="AD" clId="Web-{3B6EC723-F71F-4E0E-BF3A-B9E7F09A7C9C}" dt="2023-05-16T23:01:46.791" v="524"/>
          <ac:graphicFrameMkLst>
            <pc:docMk/>
            <pc:sldMk cId="3747817912" sldId="362"/>
            <ac:graphicFrameMk id="7" creationId="{7D8A467F-B93F-3591-D4D3-C24F8692036A}"/>
          </ac:graphicFrameMkLst>
        </pc:graphicFrameChg>
        <pc:picChg chg="add del mod">
          <ac:chgData name="Li  Yangshihao" userId="S::s302568@studenti.polito.it::ee48da2e-17a2-4953-b1e7-564eeca1e514" providerId="AD" clId="Web-{3B6EC723-F71F-4E0E-BF3A-B9E7F09A7C9C}" dt="2023-05-16T22:43:43.927" v="273"/>
          <ac:picMkLst>
            <pc:docMk/>
            <pc:sldMk cId="3747817912" sldId="362"/>
            <ac:picMk id="5" creationId="{CCE74FE3-4958-095F-43A6-3DFCB8863D2B}"/>
          </ac:picMkLst>
        </pc:picChg>
        <pc:picChg chg="add del mod">
          <ac:chgData name="Li  Yangshihao" userId="S::s302568@studenti.polito.it::ee48da2e-17a2-4953-b1e7-564eeca1e514" providerId="AD" clId="Web-{3B6EC723-F71F-4E0E-BF3A-B9E7F09A7C9C}" dt="2023-05-16T22:43:43.927" v="272"/>
          <ac:picMkLst>
            <pc:docMk/>
            <pc:sldMk cId="3747817912" sldId="362"/>
            <ac:picMk id="6" creationId="{DB411CD6-DD94-7F30-020D-FD9E3B5CB212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24"/>
          <ac:picMkLst>
            <pc:docMk/>
            <pc:sldMk cId="3747817912" sldId="362"/>
            <ac:picMk id="8" creationId="{6B7D6018-EEB9-1732-2BEF-510352976A6F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23"/>
          <ac:picMkLst>
            <pc:docMk/>
            <pc:sldMk cId="3747817912" sldId="362"/>
            <ac:picMk id="9" creationId="{812C7030-6E5E-C4E2-9780-17D95C878ECD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22"/>
          <ac:picMkLst>
            <pc:docMk/>
            <pc:sldMk cId="3747817912" sldId="362"/>
            <ac:picMk id="10" creationId="{EE3F3A4D-D8A4-3CF0-263C-D731B9B84148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21"/>
          <ac:picMkLst>
            <pc:docMk/>
            <pc:sldMk cId="3747817912" sldId="362"/>
            <ac:picMk id="11" creationId="{7AF2ABB8-E6BD-EEAE-29B6-251B827E6581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20"/>
          <ac:picMkLst>
            <pc:docMk/>
            <pc:sldMk cId="3747817912" sldId="362"/>
            <ac:picMk id="12" creationId="{0AE383F2-CA75-BA46-7B2D-AECED501DB54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19"/>
          <ac:picMkLst>
            <pc:docMk/>
            <pc:sldMk cId="3747817912" sldId="362"/>
            <ac:picMk id="13" creationId="{9681CEE5-763A-8FE1-D265-0615C320F35F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18"/>
          <ac:picMkLst>
            <pc:docMk/>
            <pc:sldMk cId="3747817912" sldId="362"/>
            <ac:picMk id="14" creationId="{982A2CD1-FC5C-E221-80DE-CAA3E1DB1FEF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17"/>
          <ac:picMkLst>
            <pc:docMk/>
            <pc:sldMk cId="3747817912" sldId="362"/>
            <ac:picMk id="15" creationId="{AEC386FC-9FC2-0377-B28F-A8C6C51A9406}"/>
          </ac:picMkLst>
        </pc:picChg>
      </pc:sldChg>
    </pc:docChg>
  </pc:docChgLst>
  <pc:docChgLst>
    <pc:chgData name="HUANG LIN" userId="S::s301266@studenti.polito.it::1b5dcee7-0d99-405d-a0f0-637f14b99ad0" providerId="AD" clId="Web-{320DFB42-AB3A-43D0-A938-93D726B4159B}"/>
    <pc:docChg chg="delSld">
      <pc:chgData name="HUANG LIN" userId="S::s301266@studenti.polito.it::1b5dcee7-0d99-405d-a0f0-637f14b99ad0" providerId="AD" clId="Web-{320DFB42-AB3A-43D0-A938-93D726B4159B}" dt="2023-05-09T16:32:15.048" v="0"/>
      <pc:docMkLst>
        <pc:docMk/>
      </pc:docMkLst>
      <pc:sldChg chg="del">
        <pc:chgData name="HUANG LIN" userId="S::s301266@studenti.polito.it::1b5dcee7-0d99-405d-a0f0-637f14b99ad0" providerId="AD" clId="Web-{320DFB42-AB3A-43D0-A938-93D726B4159B}" dt="2023-05-09T16:32:15.048" v="0"/>
        <pc:sldMkLst>
          <pc:docMk/>
          <pc:sldMk cId="3625760117" sldId="359"/>
        </pc:sldMkLst>
      </pc:sldChg>
    </pc:docChg>
  </pc:docChgLst>
  <pc:docChgLst>
    <pc:chgData name="Li  Yangshihao" userId="S::s302568@studenti.polito.it::ee48da2e-17a2-4953-b1e7-564eeca1e514" providerId="AD" clId="Web-{29B38739-F18C-4A97-8E48-F53C74F0D6C9}"/>
    <pc:docChg chg="addSld delSld modSld">
      <pc:chgData name="Li  Yangshihao" userId="S::s302568@studenti.polito.it::ee48da2e-17a2-4953-b1e7-564eeca1e514" providerId="AD" clId="Web-{29B38739-F18C-4A97-8E48-F53C74F0D6C9}" dt="2023-05-09T20:45:32.365" v="126"/>
      <pc:docMkLst>
        <pc:docMk/>
      </pc:docMkLst>
      <pc:sldChg chg="modSp">
        <pc:chgData name="Li  Yangshihao" userId="S::s302568@studenti.polito.it::ee48da2e-17a2-4953-b1e7-564eeca1e514" providerId="AD" clId="Web-{29B38739-F18C-4A97-8E48-F53C74F0D6C9}" dt="2023-05-09T20:45:32.365" v="126"/>
        <pc:sldMkLst>
          <pc:docMk/>
          <pc:sldMk cId="2954245266" sldId="355"/>
        </pc:sldMkLst>
        <pc:graphicFrameChg chg="mod modGraphic">
          <ac:chgData name="Li  Yangshihao" userId="S::s302568@studenti.polito.it::ee48da2e-17a2-4953-b1e7-564eeca1e514" providerId="AD" clId="Web-{29B38739-F18C-4A97-8E48-F53C74F0D6C9}" dt="2023-05-09T20:45:32.365" v="126"/>
          <ac:graphicFrameMkLst>
            <pc:docMk/>
            <pc:sldMk cId="2954245266" sldId="355"/>
            <ac:graphicFrameMk id="7" creationId="{7D8A467F-B93F-3591-D4D3-C24F8692036A}"/>
          </ac:graphicFrameMkLst>
        </pc:graphicFrameChg>
      </pc:sldChg>
      <pc:sldChg chg="addSp delSp modSp new del">
        <pc:chgData name="Li  Yangshihao" userId="S::s302568@studenti.polito.it::ee48da2e-17a2-4953-b1e7-564eeca1e514" providerId="AD" clId="Web-{29B38739-F18C-4A97-8E48-F53C74F0D6C9}" dt="2023-05-09T20:45:06.068" v="122"/>
        <pc:sldMkLst>
          <pc:docMk/>
          <pc:sldMk cId="136451488" sldId="359"/>
        </pc:sldMkLst>
        <pc:spChg chg="del">
          <ac:chgData name="Li  Yangshihao" userId="S::s302568@studenti.polito.it::ee48da2e-17a2-4953-b1e7-564eeca1e514" providerId="AD" clId="Web-{29B38739-F18C-4A97-8E48-F53C74F0D6C9}" dt="2023-05-09T20:37:11.165" v="29"/>
          <ac:spMkLst>
            <pc:docMk/>
            <pc:sldMk cId="136451488" sldId="359"/>
            <ac:spMk id="5" creationId="{5A89FD0C-0395-0993-010A-618A93A9ACF7}"/>
          </ac:spMkLst>
        </pc:spChg>
        <pc:graphicFrameChg chg="add mod ord modGraphic">
          <ac:chgData name="Li  Yangshihao" userId="S::s302568@studenti.polito.it::ee48da2e-17a2-4953-b1e7-564eeca1e514" providerId="AD" clId="Web-{29B38739-F18C-4A97-8E48-F53C74F0D6C9}" dt="2023-05-09T20:37:11.165" v="29"/>
          <ac:graphicFrameMkLst>
            <pc:docMk/>
            <pc:sldMk cId="136451488" sldId="359"/>
            <ac:graphicFrameMk id="6" creationId="{3DEF3590-4F19-D115-5DC6-7ABE16C2CF37}"/>
          </ac:graphicFrameMkLst>
        </pc:graphicFrameChg>
      </pc:sldChg>
    </pc:docChg>
  </pc:docChgLst>
  <pc:docChgLst>
    <pc:chgData name="HUANG LIN" userId="S::s301266@studenti.polito.it::1b5dcee7-0d99-405d-a0f0-637f14b99ad0" providerId="AD" clId="Web-{664A2B56-AC2C-4211-A2D3-AADED3543452}"/>
    <pc:docChg chg="addSld">
      <pc:chgData name="HUANG LIN" userId="S::s301266@studenti.polito.it::1b5dcee7-0d99-405d-a0f0-637f14b99ad0" providerId="AD" clId="Web-{664A2B56-AC2C-4211-A2D3-AADED3543452}" dt="2023-05-09T15:53:16.306" v="0"/>
      <pc:docMkLst>
        <pc:docMk/>
      </pc:docMkLst>
      <pc:sldChg chg="new">
        <pc:chgData name="HUANG LIN" userId="S::s301266@studenti.polito.it::1b5dcee7-0d99-405d-a0f0-637f14b99ad0" providerId="AD" clId="Web-{664A2B56-AC2C-4211-A2D3-AADED3543452}" dt="2023-05-09T15:53:16.306" v="0"/>
        <pc:sldMkLst>
          <pc:docMk/>
          <pc:sldMk cId="3625760117" sldId="359"/>
        </pc:sldMkLst>
      </pc:sldChg>
    </pc:docChg>
  </pc:docChgLst>
  <pc:docChgLst>
    <pc:chgData name="Li  Yangshihao" userId="S::s302568@studenti.polito.it::ee48da2e-17a2-4953-b1e7-564eeca1e514" providerId="AD" clId="Web-{83FEF11B-CE25-4599-96E8-CA6A67A40FDC}"/>
    <pc:docChg chg="modSld sldOrd">
      <pc:chgData name="Li  Yangshihao" userId="S::s302568@studenti.polito.it::ee48da2e-17a2-4953-b1e7-564eeca1e514" providerId="AD" clId="Web-{83FEF11B-CE25-4599-96E8-CA6A67A40FDC}" dt="2023-05-16T19:51:57.220" v="17" actId="1076"/>
      <pc:docMkLst>
        <pc:docMk/>
      </pc:docMkLst>
      <pc:sldChg chg="addSp delSp modSp">
        <pc:chgData name="Li  Yangshihao" userId="S::s302568@studenti.polito.it::ee48da2e-17a2-4953-b1e7-564eeca1e514" providerId="AD" clId="Web-{83FEF11B-CE25-4599-96E8-CA6A67A40FDC}" dt="2023-05-16T19:51:57.220" v="17" actId="1076"/>
        <pc:sldMkLst>
          <pc:docMk/>
          <pc:sldMk cId="126589775" sldId="345"/>
        </pc:sldMkLst>
        <pc:spChg chg="mod">
          <ac:chgData name="Li  Yangshihao" userId="S::s302568@studenti.polito.it::ee48da2e-17a2-4953-b1e7-564eeca1e514" providerId="AD" clId="Web-{83FEF11B-CE25-4599-96E8-CA6A67A40FDC}" dt="2023-05-16T19:51:43.391" v="12" actId="14100"/>
          <ac:spMkLst>
            <pc:docMk/>
            <pc:sldMk cId="126589775" sldId="345"/>
            <ac:spMk id="7" creationId="{3B86F339-C48E-7335-81B4-1B1FFF81CD19}"/>
          </ac:spMkLst>
        </pc:spChg>
        <pc:picChg chg="add mod">
          <ac:chgData name="Li  Yangshihao" userId="S::s302568@studenti.polito.it::ee48da2e-17a2-4953-b1e7-564eeca1e514" providerId="AD" clId="Web-{83FEF11B-CE25-4599-96E8-CA6A67A40FDC}" dt="2023-05-16T19:46:51.851" v="3" actId="1076"/>
          <ac:picMkLst>
            <pc:docMk/>
            <pc:sldMk cId="126589775" sldId="345"/>
            <ac:picMk id="5" creationId="{76B02C15-FBEC-DC3D-17B7-FE391EBEAD3F}"/>
          </ac:picMkLst>
        </pc:picChg>
        <pc:picChg chg="mod">
          <ac:chgData name="Li  Yangshihao" userId="S::s302568@studenti.polito.it::ee48da2e-17a2-4953-b1e7-564eeca1e514" providerId="AD" clId="Web-{83FEF11B-CE25-4599-96E8-CA6A67A40FDC}" dt="2023-05-16T19:51:46.470" v="13" actId="1076"/>
          <ac:picMkLst>
            <pc:docMk/>
            <pc:sldMk cId="126589775" sldId="345"/>
            <ac:picMk id="6" creationId="{CC9420EF-B350-5815-183C-29E246732629}"/>
          </ac:picMkLst>
        </pc:picChg>
        <pc:picChg chg="del">
          <ac:chgData name="Li  Yangshihao" userId="S::s302568@studenti.polito.it::ee48da2e-17a2-4953-b1e7-564eeca1e514" providerId="AD" clId="Web-{83FEF11B-CE25-4599-96E8-CA6A67A40FDC}" dt="2023-05-16T19:46:47.023" v="2"/>
          <ac:picMkLst>
            <pc:docMk/>
            <pc:sldMk cId="126589775" sldId="345"/>
            <ac:picMk id="8" creationId="{F771F80B-1522-AA95-496F-888151B1D2AD}"/>
          </ac:picMkLst>
        </pc:picChg>
        <pc:picChg chg="add mod">
          <ac:chgData name="Li  Yangshihao" userId="S::s302568@studenti.polito.it::ee48da2e-17a2-4953-b1e7-564eeca1e514" providerId="AD" clId="Web-{83FEF11B-CE25-4599-96E8-CA6A67A40FDC}" dt="2023-05-16T19:51:57.220" v="17" actId="1076"/>
          <ac:picMkLst>
            <pc:docMk/>
            <pc:sldMk cId="126589775" sldId="345"/>
            <ac:picMk id="9" creationId="{A36F11E9-A4F4-09DA-44C0-043A5CEB1D7B}"/>
          </ac:picMkLst>
        </pc:picChg>
        <pc:picChg chg="del">
          <ac:chgData name="Li  Yangshihao" userId="S::s302568@studenti.polito.it::ee48da2e-17a2-4953-b1e7-564eeca1e514" providerId="AD" clId="Web-{83FEF11B-CE25-4599-96E8-CA6A67A40FDC}" dt="2023-05-16T19:51:22.422" v="4"/>
          <ac:picMkLst>
            <pc:docMk/>
            <pc:sldMk cId="126589775" sldId="345"/>
            <ac:picMk id="10" creationId="{5903794A-3D2D-133F-ABD7-5BBE56C50851}"/>
          </ac:picMkLst>
        </pc:picChg>
      </pc:sldChg>
      <pc:sldChg chg="ord">
        <pc:chgData name="Li  Yangshihao" userId="S::s302568@studenti.polito.it::ee48da2e-17a2-4953-b1e7-564eeca1e514" providerId="AD" clId="Web-{83FEF11B-CE25-4599-96E8-CA6A67A40FDC}" dt="2023-05-16T19:45:05.488" v="0"/>
        <pc:sldMkLst>
          <pc:docMk/>
          <pc:sldMk cId="2954245266" sldId="355"/>
        </pc:sldMkLst>
      </pc:sldChg>
    </pc:docChg>
  </pc:docChgLst>
  <pc:docChgLst>
    <pc:chgData name="YIN JUN" userId="40f53ba7-6859-4e15-b6a0-4f636ac10741" providerId="ADAL" clId="{6729D566-E990-8643-8471-8318E9E7CCCD}"/>
    <pc:docChg chg="addSld modSld">
      <pc:chgData name="YIN JUN" userId="40f53ba7-6859-4e15-b6a0-4f636ac10741" providerId="ADAL" clId="{6729D566-E990-8643-8471-8318E9E7CCCD}" dt="2023-06-19T20:15:12.385" v="2" actId="1076"/>
      <pc:docMkLst>
        <pc:docMk/>
      </pc:docMkLst>
      <pc:sldChg chg="modSp add mod">
        <pc:chgData name="YIN JUN" userId="40f53ba7-6859-4e15-b6a0-4f636ac10741" providerId="ADAL" clId="{6729D566-E990-8643-8471-8318E9E7CCCD}" dt="2023-06-19T20:15:12.385" v="2" actId="1076"/>
        <pc:sldMkLst>
          <pc:docMk/>
          <pc:sldMk cId="2514733596" sldId="368"/>
        </pc:sldMkLst>
        <pc:spChg chg="mod">
          <ac:chgData name="YIN JUN" userId="40f53ba7-6859-4e15-b6a0-4f636ac10741" providerId="ADAL" clId="{6729D566-E990-8643-8471-8318E9E7CCCD}" dt="2023-06-19T20:15:12.385" v="2" actId="1076"/>
          <ac:spMkLst>
            <pc:docMk/>
            <pc:sldMk cId="2514733596" sldId="368"/>
            <ac:spMk id="5" creationId="{B1453B25-3D98-76CC-52F2-A65940944E5C}"/>
          </ac:spMkLst>
        </pc:spChg>
        <pc:cxnChg chg="mod">
          <ac:chgData name="YIN JUN" userId="40f53ba7-6859-4e15-b6a0-4f636ac10741" providerId="ADAL" clId="{6729D566-E990-8643-8471-8318E9E7CCCD}" dt="2023-06-19T20:15:08.046" v="1" actId="1076"/>
          <ac:cxnSpMkLst>
            <pc:docMk/>
            <pc:sldMk cId="2514733596" sldId="368"/>
            <ac:cxnSpMk id="9" creationId="{D323EE1D-7F6D-34BF-B989-E9591F02848C}"/>
          </ac:cxnSpMkLst>
        </pc:cxnChg>
      </pc:sldChg>
    </pc:docChg>
  </pc:docChgLst>
  <pc:docChgLst>
    <pc:chgData name="CHEN JINGSI" userId="S::s296135@studenti.polito.it::2c6a6994-749a-46da-a9cf-6c6b6bb4c573" providerId="AD" clId="Web-{1ACD9065-055E-42F6-885C-E7C62C8DA6FB}"/>
    <pc:docChg chg="addSld delSld modSld">
      <pc:chgData name="CHEN JINGSI" userId="S::s296135@studenti.polito.it::2c6a6994-749a-46da-a9cf-6c6b6bb4c573" providerId="AD" clId="Web-{1ACD9065-055E-42F6-885C-E7C62C8DA6FB}" dt="2023-05-16T15:18:19.937" v="37" actId="1076"/>
      <pc:docMkLst>
        <pc:docMk/>
      </pc:docMkLst>
      <pc:sldChg chg="modSp">
        <pc:chgData name="CHEN JINGSI" userId="S::s296135@studenti.polito.it::2c6a6994-749a-46da-a9cf-6c6b6bb4c573" providerId="AD" clId="Web-{1ACD9065-055E-42F6-885C-E7C62C8DA6FB}" dt="2023-05-16T14:57:31.398" v="21" actId="20577"/>
        <pc:sldMkLst>
          <pc:docMk/>
          <pc:sldMk cId="2122089933" sldId="332"/>
        </pc:sldMkLst>
        <pc:spChg chg="mod">
          <ac:chgData name="CHEN JINGSI" userId="S::s296135@studenti.polito.it::2c6a6994-749a-46da-a9cf-6c6b6bb4c573" providerId="AD" clId="Web-{1ACD9065-055E-42F6-885C-E7C62C8DA6FB}" dt="2023-05-16T14:57:31.398" v="21" actId="20577"/>
          <ac:spMkLst>
            <pc:docMk/>
            <pc:sldMk cId="2122089933" sldId="332"/>
            <ac:spMk id="14" creationId="{DF30948C-C290-008E-BF17-91A1822F6CB7}"/>
          </ac:spMkLst>
        </pc:spChg>
      </pc:sldChg>
      <pc:sldChg chg="del">
        <pc:chgData name="CHEN JINGSI" userId="S::s296135@studenti.polito.it::2c6a6994-749a-46da-a9cf-6c6b6bb4c573" providerId="AD" clId="Web-{1ACD9065-055E-42F6-885C-E7C62C8DA6FB}" dt="2023-05-16T15:14:39.726" v="23"/>
        <pc:sldMkLst>
          <pc:docMk/>
          <pc:sldMk cId="24899032" sldId="338"/>
        </pc:sldMkLst>
      </pc:sldChg>
      <pc:sldChg chg="modSp">
        <pc:chgData name="CHEN JINGSI" userId="S::s296135@studenti.polito.it::2c6a6994-749a-46da-a9cf-6c6b6bb4c573" providerId="AD" clId="Web-{1ACD9065-055E-42F6-885C-E7C62C8DA6FB}" dt="2023-05-16T14:49:21.598" v="16" actId="20577"/>
        <pc:sldMkLst>
          <pc:docMk/>
          <pc:sldMk cId="2483509572" sldId="353"/>
        </pc:sldMkLst>
        <pc:spChg chg="mod">
          <ac:chgData name="CHEN JINGSI" userId="S::s296135@studenti.polito.it::2c6a6994-749a-46da-a9cf-6c6b6bb4c573" providerId="AD" clId="Web-{1ACD9065-055E-42F6-885C-E7C62C8DA6FB}" dt="2023-05-16T14:49:21.598" v="16" actId="20577"/>
          <ac:spMkLst>
            <pc:docMk/>
            <pc:sldMk cId="2483509572" sldId="353"/>
            <ac:spMk id="1049" creationId="{55C63BC5-F295-3028-5BFF-62BAE1E31764}"/>
          </ac:spMkLst>
        </pc:spChg>
        <pc:spChg chg="mod">
          <ac:chgData name="CHEN JINGSI" userId="S::s296135@studenti.polito.it::2c6a6994-749a-46da-a9cf-6c6b6bb4c573" providerId="AD" clId="Web-{1ACD9065-055E-42F6-885C-E7C62C8DA6FB}" dt="2023-05-16T14:34:22.799" v="6" actId="20577"/>
          <ac:spMkLst>
            <pc:docMk/>
            <pc:sldMk cId="2483509572" sldId="353"/>
            <ac:spMk id="1056" creationId="{55620A60-81E4-3ED9-C91E-E82ADBBCECB6}"/>
          </ac:spMkLst>
        </pc:spChg>
      </pc:sldChg>
      <pc:sldChg chg="modSp">
        <pc:chgData name="CHEN JINGSI" userId="S::s296135@studenti.polito.it::2c6a6994-749a-46da-a9cf-6c6b6bb4c573" providerId="AD" clId="Web-{1ACD9065-055E-42F6-885C-E7C62C8DA6FB}" dt="2023-05-16T14:38:41.262" v="12"/>
        <pc:sldMkLst>
          <pc:docMk/>
          <pc:sldMk cId="324668933" sldId="356"/>
        </pc:sldMkLst>
        <pc:graphicFrameChg chg="mod modGraphic">
          <ac:chgData name="CHEN JINGSI" userId="S::s296135@studenti.polito.it::2c6a6994-749a-46da-a9cf-6c6b6bb4c573" providerId="AD" clId="Web-{1ACD9065-055E-42F6-885C-E7C62C8DA6FB}" dt="2023-05-16T14:38:41.262" v="12"/>
          <ac:graphicFrameMkLst>
            <pc:docMk/>
            <pc:sldMk cId="324668933" sldId="356"/>
            <ac:graphicFrameMk id="6" creationId="{2A84395D-0707-9424-B95E-E30BE8042836}"/>
          </ac:graphicFrameMkLst>
        </pc:graphicFrameChg>
      </pc:sldChg>
      <pc:sldChg chg="modSp add">
        <pc:chgData name="CHEN JINGSI" userId="S::s296135@studenti.polito.it::2c6a6994-749a-46da-a9cf-6c6b6bb4c573" providerId="AD" clId="Web-{1ACD9065-055E-42F6-885C-E7C62C8DA6FB}" dt="2023-05-16T15:18:19.937" v="37" actId="1076"/>
        <pc:sldMkLst>
          <pc:docMk/>
          <pc:sldMk cId="2505882932" sldId="359"/>
        </pc:sldMkLst>
        <pc:spChg chg="mod">
          <ac:chgData name="CHEN JINGSI" userId="S::s296135@studenti.polito.it::2c6a6994-749a-46da-a9cf-6c6b6bb4c573" providerId="AD" clId="Web-{1ACD9065-055E-42F6-885C-E7C62C8DA6FB}" dt="2023-05-16T15:18:08.233" v="35" actId="14100"/>
          <ac:spMkLst>
            <pc:docMk/>
            <pc:sldMk cId="2505882932" sldId="359"/>
            <ac:spMk id="39" creationId="{BFE13184-30A4-56D1-BA89-C1877D179980}"/>
          </ac:spMkLst>
        </pc:spChg>
        <pc:spChg chg="mod">
          <ac:chgData name="CHEN JINGSI" userId="S::s296135@studenti.polito.it::2c6a6994-749a-46da-a9cf-6c6b6bb4c573" providerId="AD" clId="Web-{1ACD9065-055E-42F6-885C-E7C62C8DA6FB}" dt="2023-05-16T15:18:19.937" v="37" actId="1076"/>
          <ac:spMkLst>
            <pc:docMk/>
            <pc:sldMk cId="2505882932" sldId="359"/>
            <ac:spMk id="41" creationId="{A85AB26E-B36A-CA5F-6B58-23B1C899A01B}"/>
          </ac:spMkLst>
        </pc:spChg>
        <pc:picChg chg="mod">
          <ac:chgData name="CHEN JINGSI" userId="S::s296135@studenti.polito.it::2c6a6994-749a-46da-a9cf-6c6b6bb4c573" providerId="AD" clId="Web-{1ACD9065-055E-42F6-885C-E7C62C8DA6FB}" dt="2023-05-16T15:18:15.421" v="36" actId="1076"/>
          <ac:picMkLst>
            <pc:docMk/>
            <pc:sldMk cId="2505882932" sldId="359"/>
            <ac:picMk id="11" creationId="{3D218603-B7BB-E43D-30FD-6AF53E302303}"/>
          </ac:picMkLst>
        </pc:picChg>
      </pc:sldChg>
    </pc:docChg>
  </pc:docChgLst>
  <pc:docChgLst>
    <pc:chgData name="Li  Yangshihao" userId="S::s302568@studenti.polito.it::ee48da2e-17a2-4953-b1e7-564eeca1e514" providerId="AD" clId="Web-{3471F2F2-DE3A-F709-1183-6D82AD1DFEC9}"/>
    <pc:docChg chg="modSld">
      <pc:chgData name="Li  Yangshihao" userId="S::s302568@studenti.polito.it::ee48da2e-17a2-4953-b1e7-564eeca1e514" providerId="AD" clId="Web-{3471F2F2-DE3A-F709-1183-6D82AD1DFEC9}" dt="2023-05-09T20:56:48.546" v="27" actId="1076"/>
      <pc:docMkLst>
        <pc:docMk/>
      </pc:docMkLst>
      <pc:sldChg chg="modSp">
        <pc:chgData name="Li  Yangshihao" userId="S::s302568@studenti.polito.it::ee48da2e-17a2-4953-b1e7-564eeca1e514" providerId="AD" clId="Web-{3471F2F2-DE3A-F709-1183-6D82AD1DFEC9}" dt="2023-05-09T20:56:48.546" v="27" actId="1076"/>
        <pc:sldMkLst>
          <pc:docMk/>
          <pc:sldMk cId="2954245266" sldId="355"/>
        </pc:sldMkLst>
        <pc:graphicFrameChg chg="mod modGraphic">
          <ac:chgData name="Li  Yangshihao" userId="S::s302568@studenti.polito.it::ee48da2e-17a2-4953-b1e7-564eeca1e514" providerId="AD" clId="Web-{3471F2F2-DE3A-F709-1183-6D82AD1DFEC9}" dt="2023-05-09T20:56:48.546" v="27" actId="1076"/>
          <ac:graphicFrameMkLst>
            <pc:docMk/>
            <pc:sldMk cId="2954245266" sldId="355"/>
            <ac:graphicFrameMk id="7" creationId="{7D8A467F-B93F-3591-D4D3-C24F8692036A}"/>
          </ac:graphicFrameMkLst>
        </pc:graphicFrameChg>
      </pc:sldChg>
    </pc:docChg>
  </pc:docChgLst>
  <pc:docChgLst>
    <pc:chgData name="CHEN JINGSI" userId="S::s296135@studenti.polito.it::2c6a6994-749a-46da-a9cf-6c6b6bb4c573" providerId="AD" clId="Web-{0DC5CF93-A47D-4EB0-A33E-F1E011D4EC1C}"/>
    <pc:docChg chg="addSld delSld">
      <pc:chgData name="CHEN JINGSI" userId="S::s296135@studenti.polito.it::2c6a6994-749a-46da-a9cf-6c6b6bb4c573" providerId="AD" clId="Web-{0DC5CF93-A47D-4EB0-A33E-F1E011D4EC1C}" dt="2023-05-18T18:13:22.127" v="1"/>
      <pc:docMkLst>
        <pc:docMk/>
      </pc:docMkLst>
      <pc:sldChg chg="del">
        <pc:chgData name="CHEN JINGSI" userId="S::s296135@studenti.polito.it::2c6a6994-749a-46da-a9cf-6c6b6bb4c573" providerId="AD" clId="Web-{0DC5CF93-A47D-4EB0-A33E-F1E011D4EC1C}" dt="2023-05-18T18:13:22.127" v="1"/>
        <pc:sldMkLst>
          <pc:docMk/>
          <pc:sldMk cId="428395215" sldId="365"/>
        </pc:sldMkLst>
      </pc:sldChg>
      <pc:sldChg chg="add">
        <pc:chgData name="CHEN JINGSI" userId="S::s296135@studenti.polito.it::2c6a6994-749a-46da-a9cf-6c6b6bb4c573" providerId="AD" clId="Web-{0DC5CF93-A47D-4EB0-A33E-F1E011D4EC1C}" dt="2023-05-18T18:13:10.314" v="0"/>
        <pc:sldMkLst>
          <pc:docMk/>
          <pc:sldMk cId="2444861779" sldId="367"/>
        </pc:sldMkLst>
      </pc:sldChg>
    </pc:docChg>
  </pc:docChgLst>
  <pc:docChgLst>
    <pc:chgData name="CHEN JINGSI" userId="S::s296135@studenti.polito.it::2c6a6994-749a-46da-a9cf-6c6b6bb4c573" providerId="AD" clId="Web-{90D5B3DA-E76C-4A81-9A8B-52B34159ED8E}"/>
    <pc:docChg chg="modSld">
      <pc:chgData name="CHEN JINGSI" userId="S::s296135@studenti.polito.it::2c6a6994-749a-46da-a9cf-6c6b6bb4c573" providerId="AD" clId="Web-{90D5B3DA-E76C-4A81-9A8B-52B34159ED8E}" dt="2023-05-09T13:01:15.070" v="25"/>
      <pc:docMkLst>
        <pc:docMk/>
      </pc:docMkLst>
      <pc:sldChg chg="addSp delSp modSp">
        <pc:chgData name="CHEN JINGSI" userId="S::s296135@studenti.polito.it::2c6a6994-749a-46da-a9cf-6c6b6bb4c573" providerId="AD" clId="Web-{90D5B3DA-E76C-4A81-9A8B-52B34159ED8E}" dt="2023-05-09T13:01:15.070" v="25"/>
        <pc:sldMkLst>
          <pc:docMk/>
          <pc:sldMk cId="1904998559" sldId="357"/>
        </pc:sldMkLst>
        <pc:picChg chg="add del mod">
          <ac:chgData name="CHEN JINGSI" userId="S::s296135@studenti.polito.it::2c6a6994-749a-46da-a9cf-6c6b6bb4c573" providerId="AD" clId="Web-{90D5B3DA-E76C-4A81-9A8B-52B34159ED8E}" dt="2023-05-09T12:59:30.173" v="15"/>
          <ac:picMkLst>
            <pc:docMk/>
            <pc:sldMk cId="1904998559" sldId="357"/>
            <ac:picMk id="5" creationId="{EED9C570-9AC7-E8ED-C717-6AB3DC0725CC}"/>
          </ac:picMkLst>
        </pc:picChg>
        <pc:picChg chg="add del mod">
          <ac:chgData name="CHEN JINGSI" userId="S::s296135@studenti.polito.it::2c6a6994-749a-46da-a9cf-6c6b6bb4c573" providerId="AD" clId="Web-{90D5B3DA-E76C-4A81-9A8B-52B34159ED8E}" dt="2023-05-09T13:01:15.070" v="25"/>
          <ac:picMkLst>
            <pc:docMk/>
            <pc:sldMk cId="1904998559" sldId="357"/>
            <ac:picMk id="6" creationId="{326FE1CE-DC41-CC9E-4065-CCFBE05F7D7A}"/>
          </ac:picMkLst>
        </pc:picChg>
        <pc:picChg chg="mod">
          <ac:chgData name="CHEN JINGSI" userId="S::s296135@studenti.polito.it::2c6a6994-749a-46da-a9cf-6c6b6bb4c573" providerId="AD" clId="Web-{90D5B3DA-E76C-4A81-9A8B-52B34159ED8E}" dt="2023-05-09T12:57:07.587" v="9" actId="1076"/>
          <ac:picMkLst>
            <pc:docMk/>
            <pc:sldMk cId="1904998559" sldId="357"/>
            <ac:picMk id="8" creationId="{B628FD73-96D4-5726-7474-514A9A7E53DC}"/>
          </ac:picMkLst>
        </pc:picChg>
        <pc:picChg chg="mod">
          <ac:chgData name="CHEN JINGSI" userId="S::s296135@studenti.polito.it::2c6a6994-749a-46da-a9cf-6c6b6bb4c573" providerId="AD" clId="Web-{90D5B3DA-E76C-4A81-9A8B-52B34159ED8E}" dt="2023-05-09T12:58:46.843" v="14" actId="1076"/>
          <ac:picMkLst>
            <pc:docMk/>
            <pc:sldMk cId="1904998559" sldId="357"/>
            <ac:picMk id="20" creationId="{48CBD229-16E4-FDFF-706B-5E66703AE618}"/>
          </ac:picMkLst>
        </pc:picChg>
      </pc:sldChg>
    </pc:docChg>
  </pc:docChgLst>
  <pc:docChgLst>
    <pc:chgData name="YIN JUN" userId="S::s296134@studenti.polito.it::40f53ba7-6859-4e15-b6a0-4f636ac10741" providerId="AD" clId="Web-{131526D3-22FA-4356-8B98-D80CBFA79F6E}"/>
    <pc:docChg chg="modSld">
      <pc:chgData name="YIN JUN" userId="S::s296134@studenti.polito.it::40f53ba7-6859-4e15-b6a0-4f636ac10741" providerId="AD" clId="Web-{131526D3-22FA-4356-8B98-D80CBFA79F6E}" dt="2023-05-10T08:01:34.856" v="41"/>
      <pc:docMkLst>
        <pc:docMk/>
      </pc:docMkLst>
      <pc:sldChg chg="modSp">
        <pc:chgData name="YIN JUN" userId="S::s296134@studenti.polito.it::40f53ba7-6859-4e15-b6a0-4f636ac10741" providerId="AD" clId="Web-{131526D3-22FA-4356-8B98-D80CBFA79F6E}" dt="2023-05-10T08:01:34.856" v="41"/>
        <pc:sldMkLst>
          <pc:docMk/>
          <pc:sldMk cId="2954245266" sldId="355"/>
        </pc:sldMkLst>
        <pc:graphicFrameChg chg="mod modGraphic">
          <ac:chgData name="YIN JUN" userId="S::s296134@studenti.polito.it::40f53ba7-6859-4e15-b6a0-4f636ac10741" providerId="AD" clId="Web-{131526D3-22FA-4356-8B98-D80CBFA79F6E}" dt="2023-05-10T08:01:34.856" v="41"/>
          <ac:graphicFrameMkLst>
            <pc:docMk/>
            <pc:sldMk cId="2954245266" sldId="355"/>
            <ac:graphicFrameMk id="7" creationId="{7D8A467F-B93F-3591-D4D3-C24F8692036A}"/>
          </ac:graphicFrameMkLst>
        </pc:graphicFrameChg>
      </pc:sldChg>
    </pc:docChg>
  </pc:docChgLst>
  <pc:docChgLst>
    <pc:chgData name="CHEN JINGSI" userId="S::s296135@studenti.polito.it::2c6a6994-749a-46da-a9cf-6c6b6bb4c573" providerId="AD" clId="Web-{B2A09156-5225-459F-8780-2D25B25C9360}"/>
    <pc:docChg chg="modSld">
      <pc:chgData name="CHEN JINGSI" userId="S::s296135@studenti.polito.it::2c6a6994-749a-46da-a9cf-6c6b6bb4c573" providerId="AD" clId="Web-{B2A09156-5225-459F-8780-2D25B25C9360}" dt="2023-05-09T13:02:45.464" v="3" actId="14100"/>
      <pc:docMkLst>
        <pc:docMk/>
      </pc:docMkLst>
      <pc:sldChg chg="addSp modSp">
        <pc:chgData name="CHEN JINGSI" userId="S::s296135@studenti.polito.it::2c6a6994-749a-46da-a9cf-6c6b6bb4c573" providerId="AD" clId="Web-{B2A09156-5225-459F-8780-2D25B25C9360}" dt="2023-05-09T13:02:45.464" v="3" actId="14100"/>
        <pc:sldMkLst>
          <pc:docMk/>
          <pc:sldMk cId="1904998559" sldId="357"/>
        </pc:sldMkLst>
        <pc:picChg chg="add mod">
          <ac:chgData name="CHEN JINGSI" userId="S::s296135@studenti.polito.it::2c6a6994-749a-46da-a9cf-6c6b6bb4c573" providerId="AD" clId="Web-{B2A09156-5225-459F-8780-2D25B25C9360}" dt="2023-05-09T13:02:45.464" v="3" actId="14100"/>
          <ac:picMkLst>
            <pc:docMk/>
            <pc:sldMk cId="1904998559" sldId="357"/>
            <ac:picMk id="5" creationId="{4121424B-A53C-054F-2FD3-327174D22144}"/>
          </ac:picMkLst>
        </pc:picChg>
      </pc:sldChg>
    </pc:docChg>
  </pc:docChgLst>
  <pc:docChgLst>
    <pc:chgData name="Li  Yangshihao" userId="S::s302568@studenti.polito.it::ee48da2e-17a2-4953-b1e7-564eeca1e514" providerId="AD" clId="Web-{BE7BFC32-FBB1-4AF4-918C-B1EAA787B413}"/>
    <pc:docChg chg="modSld">
      <pc:chgData name="Li  Yangshihao" userId="S::s302568@studenti.polito.it::ee48da2e-17a2-4953-b1e7-564eeca1e514" providerId="AD" clId="Web-{BE7BFC32-FBB1-4AF4-918C-B1EAA787B413}" dt="2023-05-09T20:29:31.975" v="555" actId="1076"/>
      <pc:docMkLst>
        <pc:docMk/>
      </pc:docMkLst>
      <pc:sldChg chg="addSp delSp modSp">
        <pc:chgData name="Li  Yangshihao" userId="S::s302568@studenti.polito.it::ee48da2e-17a2-4953-b1e7-564eeca1e514" providerId="AD" clId="Web-{BE7BFC32-FBB1-4AF4-918C-B1EAA787B413}" dt="2023-05-09T20:06:23.319" v="39" actId="1076"/>
        <pc:sldMkLst>
          <pc:docMk/>
          <pc:sldMk cId="126589775" sldId="345"/>
        </pc:sldMkLst>
        <pc:spChg chg="mod">
          <ac:chgData name="Li  Yangshihao" userId="S::s302568@studenti.polito.it::ee48da2e-17a2-4953-b1e7-564eeca1e514" providerId="AD" clId="Web-{BE7BFC32-FBB1-4AF4-918C-B1EAA787B413}" dt="2023-05-09T20:03:56.236" v="20" actId="14100"/>
          <ac:spMkLst>
            <pc:docMk/>
            <pc:sldMk cId="126589775" sldId="345"/>
            <ac:spMk id="7" creationId="{3B86F339-C48E-7335-81B4-1B1FFF81CD19}"/>
          </ac:spMkLst>
        </pc:spChg>
        <pc:picChg chg="add mod">
          <ac:chgData name="Li  Yangshihao" userId="S::s302568@studenti.polito.it::ee48da2e-17a2-4953-b1e7-564eeca1e514" providerId="AD" clId="Web-{BE7BFC32-FBB1-4AF4-918C-B1EAA787B413}" dt="2023-05-09T20:05:35.083" v="27" actId="1076"/>
          <ac:picMkLst>
            <pc:docMk/>
            <pc:sldMk cId="126589775" sldId="345"/>
            <ac:picMk id="3" creationId="{8FFAA7A7-E11F-C850-FEC0-1BAD51904BB2}"/>
          </ac:picMkLst>
        </pc:picChg>
        <pc:picChg chg="add mod">
          <ac:chgData name="Li  Yangshihao" userId="S::s302568@studenti.polito.it::ee48da2e-17a2-4953-b1e7-564eeca1e514" providerId="AD" clId="Web-{BE7BFC32-FBB1-4AF4-918C-B1EAA787B413}" dt="2023-05-09T20:05:50.474" v="31" actId="1076"/>
          <ac:picMkLst>
            <pc:docMk/>
            <pc:sldMk cId="126589775" sldId="345"/>
            <ac:picMk id="5" creationId="{AC7385EA-A399-A8EF-8F9C-776877C82F95}"/>
          </ac:picMkLst>
        </pc:picChg>
        <pc:picChg chg="add mod">
          <ac:chgData name="Li  Yangshihao" userId="S::s302568@studenti.polito.it::ee48da2e-17a2-4953-b1e7-564eeca1e514" providerId="AD" clId="Web-{BE7BFC32-FBB1-4AF4-918C-B1EAA787B413}" dt="2023-05-09T20:06:20.803" v="38" actId="1076"/>
          <ac:picMkLst>
            <pc:docMk/>
            <pc:sldMk cId="126589775" sldId="345"/>
            <ac:picMk id="6" creationId="{CC9420EF-B350-5815-183C-29E246732629}"/>
          </ac:picMkLst>
        </pc:picChg>
        <pc:picChg chg="del">
          <ac:chgData name="Li  Yangshihao" userId="S::s302568@studenti.polito.it::ee48da2e-17a2-4953-b1e7-564eeca1e514" providerId="AD" clId="Web-{BE7BFC32-FBB1-4AF4-918C-B1EAA787B413}" dt="2023-05-09T20:04:58.301" v="21"/>
          <ac:picMkLst>
            <pc:docMk/>
            <pc:sldMk cId="126589775" sldId="345"/>
            <ac:picMk id="9" creationId="{F8BE53EE-9E6C-457C-31D0-6F27458CDB19}"/>
          </ac:picMkLst>
        </pc:picChg>
        <pc:picChg chg="mod">
          <ac:chgData name="Li  Yangshihao" userId="S::s302568@studenti.polito.it::ee48da2e-17a2-4953-b1e7-564eeca1e514" providerId="AD" clId="Web-{BE7BFC32-FBB1-4AF4-918C-B1EAA787B413}" dt="2023-05-09T20:06:23.319" v="39" actId="1076"/>
          <ac:picMkLst>
            <pc:docMk/>
            <pc:sldMk cId="126589775" sldId="345"/>
            <ac:picMk id="10" creationId="{5903794A-3D2D-133F-ABD7-5BBE56C50851}"/>
          </ac:picMkLst>
        </pc:picChg>
      </pc:sldChg>
      <pc:sldChg chg="addSp delSp modSp">
        <pc:chgData name="Li  Yangshihao" userId="S::s302568@studenti.polito.it::ee48da2e-17a2-4953-b1e7-564eeca1e514" providerId="AD" clId="Web-{BE7BFC32-FBB1-4AF4-918C-B1EAA787B413}" dt="2023-05-09T20:29:31.975" v="555" actId="1076"/>
        <pc:sldMkLst>
          <pc:docMk/>
          <pc:sldMk cId="2954245266" sldId="355"/>
        </pc:sldMkLst>
        <pc:graphicFrameChg chg="add del mod modGraphic">
          <ac:chgData name="Li  Yangshihao" userId="S::s302568@studenti.polito.it::ee48da2e-17a2-4953-b1e7-564eeca1e514" providerId="AD" clId="Web-{BE7BFC32-FBB1-4AF4-918C-B1EAA787B413}" dt="2023-05-09T20:09:08.840" v="122"/>
          <ac:graphicFrameMkLst>
            <pc:docMk/>
            <pc:sldMk cId="2954245266" sldId="355"/>
            <ac:graphicFrameMk id="6" creationId="{CDB85DE8-8618-13D0-861E-65A6D0FF7471}"/>
          </ac:graphicFrameMkLst>
        </pc:graphicFrameChg>
        <pc:graphicFrameChg chg="add mod modGraphic">
          <ac:chgData name="Li  Yangshihao" userId="S::s302568@studenti.polito.it::ee48da2e-17a2-4953-b1e7-564eeca1e514" providerId="AD" clId="Web-{BE7BFC32-FBB1-4AF4-918C-B1EAA787B413}" dt="2023-05-09T20:29:31.975" v="555" actId="1076"/>
          <ac:graphicFrameMkLst>
            <pc:docMk/>
            <pc:sldMk cId="2954245266" sldId="355"/>
            <ac:graphicFrameMk id="7" creationId="{7D8A467F-B93F-3591-D4D3-C24F8692036A}"/>
          </ac:graphicFrameMkLst>
        </pc:graphicFrameChg>
        <pc:picChg chg="add del mod">
          <ac:chgData name="Li  Yangshihao" userId="S::s302568@studenti.polito.it::ee48da2e-17a2-4953-b1e7-564eeca1e514" providerId="AD" clId="Web-{BE7BFC32-FBB1-4AF4-918C-B1EAA787B413}" dt="2023-05-09T20:05:55.349" v="32"/>
          <ac:picMkLst>
            <pc:docMk/>
            <pc:sldMk cId="2954245266" sldId="355"/>
            <ac:picMk id="3" creationId="{BB9053E6-376F-2BB4-471D-61B81D54DC1B}"/>
          </ac:picMkLst>
        </pc:picChg>
        <pc:picChg chg="add del mod">
          <ac:chgData name="Li  Yangshihao" userId="S::s302568@studenti.polito.it::ee48da2e-17a2-4953-b1e7-564eeca1e514" providerId="AD" clId="Web-{BE7BFC32-FBB1-4AF4-918C-B1EAA787B413}" dt="2023-05-09T20:05:45.333" v="29"/>
          <ac:picMkLst>
            <pc:docMk/>
            <pc:sldMk cId="2954245266" sldId="355"/>
            <ac:picMk id="5" creationId="{052FACA0-258B-0FF1-6B6E-904C5B7D403D}"/>
          </ac:picMkLst>
        </pc:pic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SchemeForSuggestions">
  <dgm:title val="Color Scheme for Suggestions"/>
  <dgm:desc val="Color Scheme for Suggestions"/>
  <dgm:catLst>
    <dgm:cat type="Other" pri="2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bg1">
        <a:lumMod val="95000"/>
      </a:schemeClr>
    </dgm:fillClrLst>
    <dgm:linClrLst>
      <a:schemeClr val="bg1">
        <a:lumMod val="95000"/>
      </a:schemeClr>
    </dgm:linClrLst>
    <dgm:effectClrLst/>
    <dgm:txLinClrLst/>
    <dgm:txFillClrLst meth="repeat">
      <a:schemeClr val="tx1">
        <a:lumMod val="75000"/>
        <a:lumOff val="25000"/>
      </a:schemeClr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SchemeForSuggestions">
  <dgm:title val="Color Scheme for Suggestions"/>
  <dgm:desc val="Color Scheme for Suggestions"/>
  <dgm:catLst>
    <dgm:cat type="Other" pri="2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bg1">
        <a:lumMod val="95000"/>
      </a:schemeClr>
    </dgm:fillClrLst>
    <dgm:linClrLst>
      <a:schemeClr val="bg1">
        <a:lumMod val="95000"/>
      </a:schemeClr>
    </dgm:linClrLst>
    <dgm:effectClrLst/>
    <dgm:txLinClrLst/>
    <dgm:txFillClrLst meth="repeat">
      <a:schemeClr val="tx1">
        <a:lumMod val="75000"/>
        <a:lumOff val="25000"/>
      </a:schemeClr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7C71F93-A4DB-4FC6-87BB-FBF82839AB91}" type="doc">
      <dgm:prSet loTypeId="urn:microsoft.com/office/officeart/2005/8/layout/list1" loCatId="Inbox" qsTypeId="urn:microsoft.com/office/officeart/2005/8/quickstyle/simple1" qsCatId="simple" csTypeId="urn:microsoft.com/office/officeart/2005/8/colors/ColorSchemeForSuggestions" csCatId="other" phldr="1"/>
      <dgm:spPr/>
      <dgm:t>
        <a:bodyPr/>
        <a:lstStyle/>
        <a:p>
          <a:endParaRPr lang="en-US"/>
        </a:p>
      </dgm:t>
    </dgm:pt>
    <dgm:pt modelId="{D0F52225-D323-4805-89C5-374A5AABBCCB}">
      <dgm:prSet custT="1"/>
      <dgm:spPr/>
      <dgm:t>
        <a:bodyPr/>
        <a:lstStyle/>
        <a:p>
          <a:pPr rtl="0"/>
          <a:r>
            <a:rPr lang="en-US" sz="2400" b="1" dirty="0">
              <a:solidFill>
                <a:schemeClr val="tx1"/>
              </a:solidFill>
            </a:rPr>
            <a:t>Last time question </a:t>
          </a:r>
        </a:p>
      </dgm:t>
    </dgm:pt>
    <dgm:pt modelId="{F351F9F4-8505-421F-8DBA-D7009F735DE3}" type="parTrans" cxnId="{C341B261-E329-4A12-A018-15B679D0BEF7}">
      <dgm:prSet/>
      <dgm:spPr/>
      <dgm:t>
        <a:bodyPr/>
        <a:lstStyle/>
        <a:p>
          <a:endParaRPr lang="en-US" sz="2400"/>
        </a:p>
      </dgm:t>
    </dgm:pt>
    <dgm:pt modelId="{5E4FD710-04CD-4CB1-AB1C-15ECC322A7E8}" type="sibTrans" cxnId="{C341B261-E329-4A12-A018-15B679D0BEF7}">
      <dgm:prSet/>
      <dgm:spPr/>
      <dgm:t>
        <a:bodyPr/>
        <a:lstStyle/>
        <a:p>
          <a:endParaRPr lang="en-US" sz="2400"/>
        </a:p>
      </dgm:t>
    </dgm:pt>
    <dgm:pt modelId="{8093CCB2-55DC-4C87-97D5-8D34688771A4}">
      <dgm:prSet custT="1"/>
      <dgm:spPr/>
      <dgm:t>
        <a:bodyPr/>
        <a:lstStyle/>
        <a:p>
          <a:pPr rtl="0"/>
          <a:r>
            <a:rPr lang="en-US" sz="2400" dirty="0"/>
            <a:t>Simulation results</a:t>
          </a:r>
        </a:p>
      </dgm:t>
    </dgm:pt>
    <dgm:pt modelId="{8A6B0E2F-8DF3-4543-B81B-E86324849590}" type="parTrans" cxnId="{335BE521-C3FC-436B-8105-3AD92E6AA8DC}">
      <dgm:prSet/>
      <dgm:spPr/>
      <dgm:t>
        <a:bodyPr/>
        <a:lstStyle/>
        <a:p>
          <a:endParaRPr lang="en-US" sz="2400"/>
        </a:p>
      </dgm:t>
    </dgm:pt>
    <dgm:pt modelId="{F21521B6-AC66-4DDA-9A93-EEAD2430B253}" type="sibTrans" cxnId="{335BE521-C3FC-436B-8105-3AD92E6AA8DC}">
      <dgm:prSet/>
      <dgm:spPr/>
      <dgm:t>
        <a:bodyPr/>
        <a:lstStyle/>
        <a:p>
          <a:endParaRPr lang="en-US" sz="2400"/>
        </a:p>
      </dgm:t>
    </dgm:pt>
    <dgm:pt modelId="{95FEDCAD-8145-3649-B402-FC9EF335529F}" type="pres">
      <dgm:prSet presAssocID="{07C71F93-A4DB-4FC6-87BB-FBF82839AB91}" presName="linear" presStyleCnt="0">
        <dgm:presLayoutVars>
          <dgm:dir/>
          <dgm:animLvl val="lvl"/>
          <dgm:resizeHandles val="exact"/>
        </dgm:presLayoutVars>
      </dgm:prSet>
      <dgm:spPr/>
    </dgm:pt>
    <dgm:pt modelId="{66C11FC2-6F36-1543-98DC-419DEE827990}" type="pres">
      <dgm:prSet presAssocID="{D0F52225-D323-4805-89C5-374A5AABBCCB}" presName="parentLin" presStyleCnt="0"/>
      <dgm:spPr/>
    </dgm:pt>
    <dgm:pt modelId="{78FB6F6A-1397-F140-B94C-47B74E40DA7D}" type="pres">
      <dgm:prSet presAssocID="{D0F52225-D323-4805-89C5-374A5AABBCCB}" presName="parentLeftMargin" presStyleLbl="node1" presStyleIdx="0" presStyleCnt="2"/>
      <dgm:spPr/>
    </dgm:pt>
    <dgm:pt modelId="{4DE260E5-B794-E44D-9A9E-F4D646D8E5A7}" type="pres">
      <dgm:prSet presAssocID="{D0F52225-D323-4805-89C5-374A5AABBCCB}" presName="parentText" presStyleLbl="node1" presStyleIdx="0" presStyleCnt="2" custScaleX="109373">
        <dgm:presLayoutVars>
          <dgm:chMax val="0"/>
          <dgm:bulletEnabled val="1"/>
        </dgm:presLayoutVars>
      </dgm:prSet>
      <dgm:spPr/>
    </dgm:pt>
    <dgm:pt modelId="{4C5BDE4C-7B72-5842-8D53-11B5282A5666}" type="pres">
      <dgm:prSet presAssocID="{D0F52225-D323-4805-89C5-374A5AABBCCB}" presName="negativeSpace" presStyleCnt="0"/>
      <dgm:spPr/>
    </dgm:pt>
    <dgm:pt modelId="{AE644DA1-FB96-AD46-9351-A63F15BA70E1}" type="pres">
      <dgm:prSet presAssocID="{D0F52225-D323-4805-89C5-374A5AABBCCB}" presName="childText" presStyleLbl="conFgAcc1" presStyleIdx="0" presStyleCnt="2">
        <dgm:presLayoutVars>
          <dgm:bulletEnabled val="1"/>
        </dgm:presLayoutVars>
      </dgm:prSet>
      <dgm:spPr/>
    </dgm:pt>
    <dgm:pt modelId="{79336FDE-5328-4A46-BB7E-50F1FF361C65}" type="pres">
      <dgm:prSet presAssocID="{5E4FD710-04CD-4CB1-AB1C-15ECC322A7E8}" presName="spaceBetweenRectangles" presStyleCnt="0"/>
      <dgm:spPr/>
    </dgm:pt>
    <dgm:pt modelId="{C1338FF5-565A-0A41-95FF-786B007F3862}" type="pres">
      <dgm:prSet presAssocID="{8093CCB2-55DC-4C87-97D5-8D34688771A4}" presName="parentLin" presStyleCnt="0"/>
      <dgm:spPr/>
    </dgm:pt>
    <dgm:pt modelId="{8E7DFE44-18B9-5542-A26A-529A2B7CC0D4}" type="pres">
      <dgm:prSet presAssocID="{8093CCB2-55DC-4C87-97D5-8D34688771A4}" presName="parentLeftMargin" presStyleLbl="node1" presStyleIdx="0" presStyleCnt="2"/>
      <dgm:spPr/>
    </dgm:pt>
    <dgm:pt modelId="{B6A18748-4148-D347-BCCA-B76C98FAD828}" type="pres">
      <dgm:prSet presAssocID="{8093CCB2-55DC-4C87-97D5-8D34688771A4}" presName="parentText" presStyleLbl="node1" presStyleIdx="1" presStyleCnt="2" custScaleX="110055" custLinFactNeighborX="-3647" custLinFactNeighborY="1574">
        <dgm:presLayoutVars>
          <dgm:chMax val="0"/>
          <dgm:bulletEnabled val="1"/>
        </dgm:presLayoutVars>
      </dgm:prSet>
      <dgm:spPr/>
    </dgm:pt>
    <dgm:pt modelId="{CB3AA200-91F3-EF4A-95EB-6F5836F2731C}" type="pres">
      <dgm:prSet presAssocID="{8093CCB2-55DC-4C87-97D5-8D34688771A4}" presName="negativeSpace" presStyleCnt="0"/>
      <dgm:spPr/>
    </dgm:pt>
    <dgm:pt modelId="{5CB3B87C-1EFC-DB45-96D0-47D3B8976425}" type="pres">
      <dgm:prSet presAssocID="{8093CCB2-55DC-4C87-97D5-8D34688771A4}" presName="childText" presStyleLbl="conFgAcc1" presStyleIdx="1" presStyleCnt="2">
        <dgm:presLayoutVars>
          <dgm:bulletEnabled val="1"/>
        </dgm:presLayoutVars>
      </dgm:prSet>
      <dgm:spPr/>
    </dgm:pt>
  </dgm:ptLst>
  <dgm:cxnLst>
    <dgm:cxn modelId="{335BE521-C3FC-436B-8105-3AD92E6AA8DC}" srcId="{07C71F93-A4DB-4FC6-87BB-FBF82839AB91}" destId="{8093CCB2-55DC-4C87-97D5-8D34688771A4}" srcOrd="1" destOrd="0" parTransId="{8A6B0E2F-8DF3-4543-B81B-E86324849590}" sibTransId="{F21521B6-AC66-4DDA-9A93-EEAD2430B253}"/>
    <dgm:cxn modelId="{C4EA6548-550B-404E-B8F8-8ECFC72D157B}" type="presOf" srcId="{D0F52225-D323-4805-89C5-374A5AABBCCB}" destId="{4DE260E5-B794-E44D-9A9E-F4D646D8E5A7}" srcOrd="1" destOrd="0" presId="urn:microsoft.com/office/officeart/2005/8/layout/list1"/>
    <dgm:cxn modelId="{C341B261-E329-4A12-A018-15B679D0BEF7}" srcId="{07C71F93-A4DB-4FC6-87BB-FBF82839AB91}" destId="{D0F52225-D323-4805-89C5-374A5AABBCCB}" srcOrd="0" destOrd="0" parTransId="{F351F9F4-8505-421F-8DBA-D7009F735DE3}" sibTransId="{5E4FD710-04CD-4CB1-AB1C-15ECC322A7E8}"/>
    <dgm:cxn modelId="{603E4066-7846-C547-9167-0CA66B2D6B56}" type="presOf" srcId="{8093CCB2-55DC-4C87-97D5-8D34688771A4}" destId="{B6A18748-4148-D347-BCCA-B76C98FAD828}" srcOrd="1" destOrd="0" presId="urn:microsoft.com/office/officeart/2005/8/layout/list1"/>
    <dgm:cxn modelId="{1DA52795-F090-E543-B89B-238FBBABFB29}" type="presOf" srcId="{8093CCB2-55DC-4C87-97D5-8D34688771A4}" destId="{8E7DFE44-18B9-5542-A26A-529A2B7CC0D4}" srcOrd="0" destOrd="0" presId="urn:microsoft.com/office/officeart/2005/8/layout/list1"/>
    <dgm:cxn modelId="{266CB7AC-0AE7-874F-97EE-515AF282CAE0}" type="presOf" srcId="{D0F52225-D323-4805-89C5-374A5AABBCCB}" destId="{78FB6F6A-1397-F140-B94C-47B74E40DA7D}" srcOrd="0" destOrd="0" presId="urn:microsoft.com/office/officeart/2005/8/layout/list1"/>
    <dgm:cxn modelId="{E89F3BE7-EA2E-2F4C-8848-E34AD2845008}" type="presOf" srcId="{07C71F93-A4DB-4FC6-87BB-FBF82839AB91}" destId="{95FEDCAD-8145-3649-B402-FC9EF335529F}" srcOrd="0" destOrd="0" presId="urn:microsoft.com/office/officeart/2005/8/layout/list1"/>
    <dgm:cxn modelId="{213A9FB2-32F1-5047-B81D-6574291F9429}" type="presParOf" srcId="{95FEDCAD-8145-3649-B402-FC9EF335529F}" destId="{66C11FC2-6F36-1543-98DC-419DEE827990}" srcOrd="0" destOrd="0" presId="urn:microsoft.com/office/officeart/2005/8/layout/list1"/>
    <dgm:cxn modelId="{650BFF32-41F4-BA44-9B0B-9F7096A6C19D}" type="presParOf" srcId="{66C11FC2-6F36-1543-98DC-419DEE827990}" destId="{78FB6F6A-1397-F140-B94C-47B74E40DA7D}" srcOrd="0" destOrd="0" presId="urn:microsoft.com/office/officeart/2005/8/layout/list1"/>
    <dgm:cxn modelId="{A5611508-08ED-084A-809F-C22589D62F57}" type="presParOf" srcId="{66C11FC2-6F36-1543-98DC-419DEE827990}" destId="{4DE260E5-B794-E44D-9A9E-F4D646D8E5A7}" srcOrd="1" destOrd="0" presId="urn:microsoft.com/office/officeart/2005/8/layout/list1"/>
    <dgm:cxn modelId="{AD02701A-2EA3-DB4B-89BC-957F55944F7C}" type="presParOf" srcId="{95FEDCAD-8145-3649-B402-FC9EF335529F}" destId="{4C5BDE4C-7B72-5842-8D53-11B5282A5666}" srcOrd="1" destOrd="0" presId="urn:microsoft.com/office/officeart/2005/8/layout/list1"/>
    <dgm:cxn modelId="{E7D3426C-797E-DF4F-BB23-9F07D5558ACF}" type="presParOf" srcId="{95FEDCAD-8145-3649-B402-FC9EF335529F}" destId="{AE644DA1-FB96-AD46-9351-A63F15BA70E1}" srcOrd="2" destOrd="0" presId="urn:microsoft.com/office/officeart/2005/8/layout/list1"/>
    <dgm:cxn modelId="{96B04730-61B4-8746-A9E1-97CCFB151E1D}" type="presParOf" srcId="{95FEDCAD-8145-3649-B402-FC9EF335529F}" destId="{79336FDE-5328-4A46-BB7E-50F1FF361C65}" srcOrd="3" destOrd="0" presId="urn:microsoft.com/office/officeart/2005/8/layout/list1"/>
    <dgm:cxn modelId="{08E6A7F3-7521-8D4D-89CE-C48E30872902}" type="presParOf" srcId="{95FEDCAD-8145-3649-B402-FC9EF335529F}" destId="{C1338FF5-565A-0A41-95FF-786B007F3862}" srcOrd="4" destOrd="0" presId="urn:microsoft.com/office/officeart/2005/8/layout/list1"/>
    <dgm:cxn modelId="{75889333-51B6-404A-8BB0-445E5872816E}" type="presParOf" srcId="{C1338FF5-565A-0A41-95FF-786B007F3862}" destId="{8E7DFE44-18B9-5542-A26A-529A2B7CC0D4}" srcOrd="0" destOrd="0" presId="urn:microsoft.com/office/officeart/2005/8/layout/list1"/>
    <dgm:cxn modelId="{6608A715-A98E-494B-AFF2-6983DCE5D3C2}" type="presParOf" srcId="{C1338FF5-565A-0A41-95FF-786B007F3862}" destId="{B6A18748-4148-D347-BCCA-B76C98FAD828}" srcOrd="1" destOrd="0" presId="urn:microsoft.com/office/officeart/2005/8/layout/list1"/>
    <dgm:cxn modelId="{E850745B-8A38-BF42-8BF7-952F991E1CE5}" type="presParOf" srcId="{95FEDCAD-8145-3649-B402-FC9EF335529F}" destId="{CB3AA200-91F3-EF4A-95EB-6F5836F2731C}" srcOrd="5" destOrd="0" presId="urn:microsoft.com/office/officeart/2005/8/layout/list1"/>
    <dgm:cxn modelId="{821C1AC0-5610-A54D-BC0B-BFA13111D7FF}" type="presParOf" srcId="{95FEDCAD-8145-3649-B402-FC9EF335529F}" destId="{5CB3B87C-1EFC-DB45-96D0-47D3B8976425}" srcOrd="6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7C71F93-A4DB-4FC6-87BB-FBF82839AB91}" type="doc">
      <dgm:prSet loTypeId="urn:microsoft.com/office/officeart/2005/8/layout/list1" loCatId="Inbox" qsTypeId="urn:microsoft.com/office/officeart/2005/8/quickstyle/simple1" qsCatId="simple" csTypeId="urn:microsoft.com/office/officeart/2005/8/colors/ColorSchemeForSuggestions" csCatId="other" phldr="1"/>
      <dgm:spPr/>
      <dgm:t>
        <a:bodyPr/>
        <a:lstStyle/>
        <a:p>
          <a:endParaRPr lang="en-US"/>
        </a:p>
      </dgm:t>
    </dgm:pt>
    <dgm:pt modelId="{D0F52225-D323-4805-89C5-374A5AABBCCB}">
      <dgm:prSet custT="1"/>
      <dgm:spPr/>
      <dgm:t>
        <a:bodyPr/>
        <a:lstStyle/>
        <a:p>
          <a:pPr rtl="0"/>
          <a:r>
            <a:rPr lang="en-US" sz="2400" b="0" dirty="0">
              <a:solidFill>
                <a:schemeClr val="bg1"/>
              </a:solidFill>
            </a:rPr>
            <a:t>Last time question </a:t>
          </a:r>
        </a:p>
      </dgm:t>
    </dgm:pt>
    <dgm:pt modelId="{F351F9F4-8505-421F-8DBA-D7009F735DE3}" type="parTrans" cxnId="{C341B261-E329-4A12-A018-15B679D0BEF7}">
      <dgm:prSet/>
      <dgm:spPr/>
      <dgm:t>
        <a:bodyPr/>
        <a:lstStyle/>
        <a:p>
          <a:endParaRPr lang="en-US" sz="2400"/>
        </a:p>
      </dgm:t>
    </dgm:pt>
    <dgm:pt modelId="{5E4FD710-04CD-4CB1-AB1C-15ECC322A7E8}" type="sibTrans" cxnId="{C341B261-E329-4A12-A018-15B679D0BEF7}">
      <dgm:prSet/>
      <dgm:spPr/>
      <dgm:t>
        <a:bodyPr/>
        <a:lstStyle/>
        <a:p>
          <a:endParaRPr lang="en-US" sz="2400"/>
        </a:p>
      </dgm:t>
    </dgm:pt>
    <dgm:pt modelId="{8093CCB2-55DC-4C87-97D5-8D34688771A4}">
      <dgm:prSet custT="1"/>
      <dgm:spPr/>
      <dgm:t>
        <a:bodyPr/>
        <a:lstStyle/>
        <a:p>
          <a:pPr rtl="0"/>
          <a:r>
            <a:rPr lang="en-US" sz="2400" b="1" dirty="0">
              <a:solidFill>
                <a:schemeClr val="tx1"/>
              </a:solidFill>
            </a:rPr>
            <a:t>Simulation results</a:t>
          </a:r>
        </a:p>
      </dgm:t>
    </dgm:pt>
    <dgm:pt modelId="{8A6B0E2F-8DF3-4543-B81B-E86324849590}" type="parTrans" cxnId="{335BE521-C3FC-436B-8105-3AD92E6AA8DC}">
      <dgm:prSet/>
      <dgm:spPr/>
      <dgm:t>
        <a:bodyPr/>
        <a:lstStyle/>
        <a:p>
          <a:endParaRPr lang="en-US" sz="2400"/>
        </a:p>
      </dgm:t>
    </dgm:pt>
    <dgm:pt modelId="{F21521B6-AC66-4DDA-9A93-EEAD2430B253}" type="sibTrans" cxnId="{335BE521-C3FC-436B-8105-3AD92E6AA8DC}">
      <dgm:prSet/>
      <dgm:spPr/>
      <dgm:t>
        <a:bodyPr/>
        <a:lstStyle/>
        <a:p>
          <a:endParaRPr lang="en-US" sz="2400"/>
        </a:p>
      </dgm:t>
    </dgm:pt>
    <dgm:pt modelId="{95FEDCAD-8145-3649-B402-FC9EF335529F}" type="pres">
      <dgm:prSet presAssocID="{07C71F93-A4DB-4FC6-87BB-FBF82839AB91}" presName="linear" presStyleCnt="0">
        <dgm:presLayoutVars>
          <dgm:dir/>
          <dgm:animLvl val="lvl"/>
          <dgm:resizeHandles val="exact"/>
        </dgm:presLayoutVars>
      </dgm:prSet>
      <dgm:spPr/>
    </dgm:pt>
    <dgm:pt modelId="{66C11FC2-6F36-1543-98DC-419DEE827990}" type="pres">
      <dgm:prSet presAssocID="{D0F52225-D323-4805-89C5-374A5AABBCCB}" presName="parentLin" presStyleCnt="0"/>
      <dgm:spPr/>
    </dgm:pt>
    <dgm:pt modelId="{78FB6F6A-1397-F140-B94C-47B74E40DA7D}" type="pres">
      <dgm:prSet presAssocID="{D0F52225-D323-4805-89C5-374A5AABBCCB}" presName="parentLeftMargin" presStyleLbl="node1" presStyleIdx="0" presStyleCnt="2"/>
      <dgm:spPr/>
    </dgm:pt>
    <dgm:pt modelId="{4DE260E5-B794-E44D-9A9E-F4D646D8E5A7}" type="pres">
      <dgm:prSet presAssocID="{D0F52225-D323-4805-89C5-374A5AABBCCB}" presName="parentText" presStyleLbl="node1" presStyleIdx="0" presStyleCnt="2" custScaleX="109373">
        <dgm:presLayoutVars>
          <dgm:chMax val="0"/>
          <dgm:bulletEnabled val="1"/>
        </dgm:presLayoutVars>
      </dgm:prSet>
      <dgm:spPr/>
    </dgm:pt>
    <dgm:pt modelId="{4C5BDE4C-7B72-5842-8D53-11B5282A5666}" type="pres">
      <dgm:prSet presAssocID="{D0F52225-D323-4805-89C5-374A5AABBCCB}" presName="negativeSpace" presStyleCnt="0"/>
      <dgm:spPr/>
    </dgm:pt>
    <dgm:pt modelId="{AE644DA1-FB96-AD46-9351-A63F15BA70E1}" type="pres">
      <dgm:prSet presAssocID="{D0F52225-D323-4805-89C5-374A5AABBCCB}" presName="childText" presStyleLbl="conFgAcc1" presStyleIdx="0" presStyleCnt="2">
        <dgm:presLayoutVars>
          <dgm:bulletEnabled val="1"/>
        </dgm:presLayoutVars>
      </dgm:prSet>
      <dgm:spPr/>
    </dgm:pt>
    <dgm:pt modelId="{79336FDE-5328-4A46-BB7E-50F1FF361C65}" type="pres">
      <dgm:prSet presAssocID="{5E4FD710-04CD-4CB1-AB1C-15ECC322A7E8}" presName="spaceBetweenRectangles" presStyleCnt="0"/>
      <dgm:spPr/>
    </dgm:pt>
    <dgm:pt modelId="{C1338FF5-565A-0A41-95FF-786B007F3862}" type="pres">
      <dgm:prSet presAssocID="{8093CCB2-55DC-4C87-97D5-8D34688771A4}" presName="parentLin" presStyleCnt="0"/>
      <dgm:spPr/>
    </dgm:pt>
    <dgm:pt modelId="{8E7DFE44-18B9-5542-A26A-529A2B7CC0D4}" type="pres">
      <dgm:prSet presAssocID="{8093CCB2-55DC-4C87-97D5-8D34688771A4}" presName="parentLeftMargin" presStyleLbl="node1" presStyleIdx="0" presStyleCnt="2"/>
      <dgm:spPr/>
    </dgm:pt>
    <dgm:pt modelId="{B6A18748-4148-D347-BCCA-B76C98FAD828}" type="pres">
      <dgm:prSet presAssocID="{8093CCB2-55DC-4C87-97D5-8D34688771A4}" presName="parentText" presStyleLbl="node1" presStyleIdx="1" presStyleCnt="2" custScaleX="110055" custLinFactNeighborX="-3647" custLinFactNeighborY="1574">
        <dgm:presLayoutVars>
          <dgm:chMax val="0"/>
          <dgm:bulletEnabled val="1"/>
        </dgm:presLayoutVars>
      </dgm:prSet>
      <dgm:spPr/>
    </dgm:pt>
    <dgm:pt modelId="{CB3AA200-91F3-EF4A-95EB-6F5836F2731C}" type="pres">
      <dgm:prSet presAssocID="{8093CCB2-55DC-4C87-97D5-8D34688771A4}" presName="negativeSpace" presStyleCnt="0"/>
      <dgm:spPr/>
    </dgm:pt>
    <dgm:pt modelId="{5CB3B87C-1EFC-DB45-96D0-47D3B8976425}" type="pres">
      <dgm:prSet presAssocID="{8093CCB2-55DC-4C87-97D5-8D34688771A4}" presName="childText" presStyleLbl="conFgAcc1" presStyleIdx="1" presStyleCnt="2">
        <dgm:presLayoutVars>
          <dgm:bulletEnabled val="1"/>
        </dgm:presLayoutVars>
      </dgm:prSet>
      <dgm:spPr/>
    </dgm:pt>
  </dgm:ptLst>
  <dgm:cxnLst>
    <dgm:cxn modelId="{335BE521-C3FC-436B-8105-3AD92E6AA8DC}" srcId="{07C71F93-A4DB-4FC6-87BB-FBF82839AB91}" destId="{8093CCB2-55DC-4C87-97D5-8D34688771A4}" srcOrd="1" destOrd="0" parTransId="{8A6B0E2F-8DF3-4543-B81B-E86324849590}" sibTransId="{F21521B6-AC66-4DDA-9A93-EEAD2430B253}"/>
    <dgm:cxn modelId="{C4EA6548-550B-404E-B8F8-8ECFC72D157B}" type="presOf" srcId="{D0F52225-D323-4805-89C5-374A5AABBCCB}" destId="{4DE260E5-B794-E44D-9A9E-F4D646D8E5A7}" srcOrd="1" destOrd="0" presId="urn:microsoft.com/office/officeart/2005/8/layout/list1"/>
    <dgm:cxn modelId="{C341B261-E329-4A12-A018-15B679D0BEF7}" srcId="{07C71F93-A4DB-4FC6-87BB-FBF82839AB91}" destId="{D0F52225-D323-4805-89C5-374A5AABBCCB}" srcOrd="0" destOrd="0" parTransId="{F351F9F4-8505-421F-8DBA-D7009F735DE3}" sibTransId="{5E4FD710-04CD-4CB1-AB1C-15ECC322A7E8}"/>
    <dgm:cxn modelId="{603E4066-7846-C547-9167-0CA66B2D6B56}" type="presOf" srcId="{8093CCB2-55DC-4C87-97D5-8D34688771A4}" destId="{B6A18748-4148-D347-BCCA-B76C98FAD828}" srcOrd="1" destOrd="0" presId="urn:microsoft.com/office/officeart/2005/8/layout/list1"/>
    <dgm:cxn modelId="{1DA52795-F090-E543-B89B-238FBBABFB29}" type="presOf" srcId="{8093CCB2-55DC-4C87-97D5-8D34688771A4}" destId="{8E7DFE44-18B9-5542-A26A-529A2B7CC0D4}" srcOrd="0" destOrd="0" presId="urn:microsoft.com/office/officeart/2005/8/layout/list1"/>
    <dgm:cxn modelId="{266CB7AC-0AE7-874F-97EE-515AF282CAE0}" type="presOf" srcId="{D0F52225-D323-4805-89C5-374A5AABBCCB}" destId="{78FB6F6A-1397-F140-B94C-47B74E40DA7D}" srcOrd="0" destOrd="0" presId="urn:microsoft.com/office/officeart/2005/8/layout/list1"/>
    <dgm:cxn modelId="{E89F3BE7-EA2E-2F4C-8848-E34AD2845008}" type="presOf" srcId="{07C71F93-A4DB-4FC6-87BB-FBF82839AB91}" destId="{95FEDCAD-8145-3649-B402-FC9EF335529F}" srcOrd="0" destOrd="0" presId="urn:microsoft.com/office/officeart/2005/8/layout/list1"/>
    <dgm:cxn modelId="{213A9FB2-32F1-5047-B81D-6574291F9429}" type="presParOf" srcId="{95FEDCAD-8145-3649-B402-FC9EF335529F}" destId="{66C11FC2-6F36-1543-98DC-419DEE827990}" srcOrd="0" destOrd="0" presId="urn:microsoft.com/office/officeart/2005/8/layout/list1"/>
    <dgm:cxn modelId="{650BFF32-41F4-BA44-9B0B-9F7096A6C19D}" type="presParOf" srcId="{66C11FC2-6F36-1543-98DC-419DEE827990}" destId="{78FB6F6A-1397-F140-B94C-47B74E40DA7D}" srcOrd="0" destOrd="0" presId="urn:microsoft.com/office/officeart/2005/8/layout/list1"/>
    <dgm:cxn modelId="{A5611508-08ED-084A-809F-C22589D62F57}" type="presParOf" srcId="{66C11FC2-6F36-1543-98DC-419DEE827990}" destId="{4DE260E5-B794-E44D-9A9E-F4D646D8E5A7}" srcOrd="1" destOrd="0" presId="urn:microsoft.com/office/officeart/2005/8/layout/list1"/>
    <dgm:cxn modelId="{AD02701A-2EA3-DB4B-89BC-957F55944F7C}" type="presParOf" srcId="{95FEDCAD-8145-3649-B402-FC9EF335529F}" destId="{4C5BDE4C-7B72-5842-8D53-11B5282A5666}" srcOrd="1" destOrd="0" presId="urn:microsoft.com/office/officeart/2005/8/layout/list1"/>
    <dgm:cxn modelId="{E7D3426C-797E-DF4F-BB23-9F07D5558ACF}" type="presParOf" srcId="{95FEDCAD-8145-3649-B402-FC9EF335529F}" destId="{AE644DA1-FB96-AD46-9351-A63F15BA70E1}" srcOrd="2" destOrd="0" presId="urn:microsoft.com/office/officeart/2005/8/layout/list1"/>
    <dgm:cxn modelId="{96B04730-61B4-8746-A9E1-97CCFB151E1D}" type="presParOf" srcId="{95FEDCAD-8145-3649-B402-FC9EF335529F}" destId="{79336FDE-5328-4A46-BB7E-50F1FF361C65}" srcOrd="3" destOrd="0" presId="urn:microsoft.com/office/officeart/2005/8/layout/list1"/>
    <dgm:cxn modelId="{08E6A7F3-7521-8D4D-89CE-C48E30872902}" type="presParOf" srcId="{95FEDCAD-8145-3649-B402-FC9EF335529F}" destId="{C1338FF5-565A-0A41-95FF-786B007F3862}" srcOrd="4" destOrd="0" presId="urn:microsoft.com/office/officeart/2005/8/layout/list1"/>
    <dgm:cxn modelId="{75889333-51B6-404A-8BB0-445E5872816E}" type="presParOf" srcId="{C1338FF5-565A-0A41-95FF-786B007F3862}" destId="{8E7DFE44-18B9-5542-A26A-529A2B7CC0D4}" srcOrd="0" destOrd="0" presId="urn:microsoft.com/office/officeart/2005/8/layout/list1"/>
    <dgm:cxn modelId="{6608A715-A98E-494B-AFF2-6983DCE5D3C2}" type="presParOf" srcId="{C1338FF5-565A-0A41-95FF-786B007F3862}" destId="{B6A18748-4148-D347-BCCA-B76C98FAD828}" srcOrd="1" destOrd="0" presId="urn:microsoft.com/office/officeart/2005/8/layout/list1"/>
    <dgm:cxn modelId="{E850745B-8A38-BF42-8BF7-952F991E1CE5}" type="presParOf" srcId="{95FEDCAD-8145-3649-B402-FC9EF335529F}" destId="{CB3AA200-91F3-EF4A-95EB-6F5836F2731C}" srcOrd="5" destOrd="0" presId="urn:microsoft.com/office/officeart/2005/8/layout/list1"/>
    <dgm:cxn modelId="{821C1AC0-5610-A54D-BC0B-BFA13111D7FF}" type="presParOf" srcId="{95FEDCAD-8145-3649-B402-FC9EF335529F}" destId="{5CB3B87C-1EFC-DB45-96D0-47D3B8976425}" srcOrd="6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E644DA1-FB96-AD46-9351-A63F15BA70E1}">
      <dsp:nvSpPr>
        <dsp:cNvPr id="0" name=""/>
        <dsp:cNvSpPr/>
      </dsp:nvSpPr>
      <dsp:spPr>
        <a:xfrm>
          <a:off x="0" y="752769"/>
          <a:ext cx="10515600" cy="128519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DE260E5-B794-E44D-9A9E-F4D646D8E5A7}">
      <dsp:nvSpPr>
        <dsp:cNvPr id="0" name=""/>
        <dsp:cNvSpPr/>
      </dsp:nvSpPr>
      <dsp:spPr>
        <a:xfrm>
          <a:off x="525780" y="9"/>
          <a:ext cx="8050859" cy="15055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8225" tIns="0" rIns="278225" bIns="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kern="1200" dirty="0">
              <a:solidFill>
                <a:schemeClr val="tx1"/>
              </a:solidFill>
            </a:rPr>
            <a:t>Last time question </a:t>
          </a:r>
        </a:p>
      </dsp:txBody>
      <dsp:txXfrm>
        <a:off x="599273" y="73502"/>
        <a:ext cx="7903873" cy="1358534"/>
      </dsp:txXfrm>
    </dsp:sp>
    <dsp:sp modelId="{5CB3B87C-1EFC-DB45-96D0-47D3B8976425}">
      <dsp:nvSpPr>
        <dsp:cNvPr id="0" name=""/>
        <dsp:cNvSpPr/>
      </dsp:nvSpPr>
      <dsp:spPr>
        <a:xfrm>
          <a:off x="0" y="3066129"/>
          <a:ext cx="10515600" cy="128519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6A18748-4148-D347-BCCA-B76C98FAD828}">
      <dsp:nvSpPr>
        <dsp:cNvPr id="0" name=""/>
        <dsp:cNvSpPr/>
      </dsp:nvSpPr>
      <dsp:spPr>
        <a:xfrm>
          <a:off x="506604" y="2337065"/>
          <a:ext cx="8101060" cy="15055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8225" tIns="0" rIns="278225" bIns="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Simulation results</a:t>
          </a:r>
        </a:p>
      </dsp:txBody>
      <dsp:txXfrm>
        <a:off x="580097" y="2410558"/>
        <a:ext cx="7954074" cy="135853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E644DA1-FB96-AD46-9351-A63F15BA70E1}">
      <dsp:nvSpPr>
        <dsp:cNvPr id="0" name=""/>
        <dsp:cNvSpPr/>
      </dsp:nvSpPr>
      <dsp:spPr>
        <a:xfrm>
          <a:off x="0" y="752769"/>
          <a:ext cx="10515600" cy="128519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DE260E5-B794-E44D-9A9E-F4D646D8E5A7}">
      <dsp:nvSpPr>
        <dsp:cNvPr id="0" name=""/>
        <dsp:cNvSpPr/>
      </dsp:nvSpPr>
      <dsp:spPr>
        <a:xfrm>
          <a:off x="525780" y="9"/>
          <a:ext cx="8050859" cy="15055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8225" tIns="0" rIns="278225" bIns="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0" kern="1200" dirty="0">
              <a:solidFill>
                <a:schemeClr val="bg1"/>
              </a:solidFill>
            </a:rPr>
            <a:t>Last time question </a:t>
          </a:r>
        </a:p>
      </dsp:txBody>
      <dsp:txXfrm>
        <a:off x="599273" y="73502"/>
        <a:ext cx="7903873" cy="1358534"/>
      </dsp:txXfrm>
    </dsp:sp>
    <dsp:sp modelId="{5CB3B87C-1EFC-DB45-96D0-47D3B8976425}">
      <dsp:nvSpPr>
        <dsp:cNvPr id="0" name=""/>
        <dsp:cNvSpPr/>
      </dsp:nvSpPr>
      <dsp:spPr>
        <a:xfrm>
          <a:off x="0" y="3066129"/>
          <a:ext cx="10515600" cy="128519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6A18748-4148-D347-BCCA-B76C98FAD828}">
      <dsp:nvSpPr>
        <dsp:cNvPr id="0" name=""/>
        <dsp:cNvSpPr/>
      </dsp:nvSpPr>
      <dsp:spPr>
        <a:xfrm>
          <a:off x="506604" y="2337065"/>
          <a:ext cx="8101060" cy="15055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8225" tIns="0" rIns="278225" bIns="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kern="1200" dirty="0">
              <a:solidFill>
                <a:schemeClr val="tx1"/>
              </a:solidFill>
            </a:rPr>
            <a:t>Simulation results</a:t>
          </a:r>
        </a:p>
      </dsp:txBody>
      <dsp:txXfrm>
        <a:off x="580097" y="2410558"/>
        <a:ext cx="7954074" cy="135853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F9B84EA-7D68-4D60-9CB1-D50884785D1C}" type="datetimeFigureOut">
              <a:rPr lang="zh-CN" altLang="en-US" smtClean="0"/>
              <a:t>2023/11/16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4E0FC9-F1F8-4FAE-9988-3BA365CFD46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3888734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3/11/16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278725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382320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255403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662523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8359942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lvl="0" indent="-342900" algn="just">
              <a:buFont typeface="宋体" panose="02010600030101010101" pitchFamily="2" charset="-122"/>
              <a:buChar char="•"/>
              <a:tabLst>
                <a:tab pos="457200" algn="l"/>
              </a:tabLst>
            </a:pPr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46637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lvl="0" indent="-342900" algn="just">
              <a:buFont typeface="宋体" panose="02010600030101010101" pitchFamily="2" charset="-122"/>
              <a:buChar char="•"/>
              <a:tabLst>
                <a:tab pos="457200" algn="l"/>
              </a:tabLst>
            </a:pPr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249114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 userDrawn="1"/>
        </p:nvSpPr>
        <p:spPr>
          <a:xfrm>
            <a:off x="0" y="0"/>
            <a:ext cx="12192000" cy="4657743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101" y="1130300"/>
            <a:ext cx="5844994" cy="1289088"/>
          </a:xfrm>
          <a:effectLst>
            <a:outerShdw blurRad="25400" dist="38100" dir="2700000" algn="tl" rotWithShape="0">
              <a:prstClr val="black">
                <a:alpha val="15000"/>
              </a:prstClr>
            </a:outerShdw>
          </a:effectLst>
        </p:spPr>
        <p:txBody>
          <a:bodyPr anchor="ctr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73100" y="2463539"/>
            <a:ext cx="5844995" cy="25892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100" y="3457766"/>
            <a:ext cx="5844995" cy="25892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101" y="3758927"/>
            <a:ext cx="5844996" cy="29639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date</a:t>
            </a:r>
            <a:endParaRPr lang="zh-CN" altLang="en-US"/>
          </a:p>
        </p:txBody>
      </p:sp>
      <p:sp>
        <p:nvSpPr>
          <p:cNvPr id="72" name="等腰三角形 71"/>
          <p:cNvSpPr/>
          <p:nvPr userDrawn="1"/>
        </p:nvSpPr>
        <p:spPr>
          <a:xfrm>
            <a:off x="800100" y="4372459"/>
            <a:ext cx="558800" cy="327523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73" name="图形 7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1916" y="1242605"/>
            <a:ext cx="6611357" cy="3415138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4" name="图形 7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96556" y="1375007"/>
            <a:ext cx="3753205" cy="4107986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997768-0F3B-4C42-8732-89CAF429E39F}" type="datetime1">
              <a:rPr lang="zh-CN" altLang="en-US" smtClean="0"/>
              <a:t>2023/11/16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/>
              <a:t>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</p:spTree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bg>
      <p:bgPr>
        <a:gradFill>
          <a:gsLst>
            <a:gs pos="15000">
              <a:schemeClr val="accent1">
                <a:lumMod val="20000"/>
                <a:lumOff val="80000"/>
              </a:schemeClr>
            </a:gs>
            <a:gs pos="47000">
              <a:schemeClr val="bg1"/>
            </a:gs>
          </a:gsLst>
          <a:lin ang="7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D0698E-25F7-2942-821D-B02E8F91024F}" type="datetime1">
              <a:rPr lang="zh-CN" altLang="en-US" smtClean="0"/>
              <a:t>2023/11/16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6" name="图片 5"/>
          <p:cNvPicPr>
            <a:picLocks noChangeAspect="1"/>
          </p:cNvPicPr>
          <p:nvPr userDrawn="1"/>
        </p:nvPicPr>
        <p:blipFill>
          <a:blip r:embed="rId2">
            <a:alphaModFix amt="1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909946">
            <a:off x="-1409427" y="3348311"/>
            <a:ext cx="5247486" cy="5247486"/>
          </a:xfrm>
          <a:prstGeom prst="rect">
            <a:avLst/>
          </a:prstGeom>
          <a:effectLst>
            <a:reflection endPos="0" dist="50800" dir="5400000" sy="-100000" algn="bl" rotWithShape="0"/>
          </a:effectLst>
        </p:spPr>
      </p:pic>
    </p:spTree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/>
          <p:cNvSpPr/>
          <p:nvPr userDrawn="1"/>
        </p:nvSpPr>
        <p:spPr>
          <a:xfrm>
            <a:off x="0" y="0"/>
            <a:ext cx="12192000" cy="4657743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6" name="图形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1916" y="1219739"/>
            <a:ext cx="6611357" cy="3415138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2" name="等腰三角形 71"/>
          <p:cNvSpPr/>
          <p:nvPr userDrawn="1"/>
        </p:nvSpPr>
        <p:spPr>
          <a:xfrm>
            <a:off x="1181100" y="4387351"/>
            <a:ext cx="558800" cy="327523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62"/>
          <p:cNvSpPr>
            <a:spLocks noGrp="1"/>
          </p:cNvSpPr>
          <p:nvPr>
            <p:ph type="body" sz="quarter" idx="18" hasCustomPrompt="1"/>
          </p:nvPr>
        </p:nvSpPr>
        <p:spPr>
          <a:xfrm>
            <a:off x="673100" y="3364497"/>
            <a:ext cx="4470400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/>
              <a:t>data</a:t>
            </a:r>
          </a:p>
        </p:txBody>
      </p:sp>
      <p:sp>
        <p:nvSpPr>
          <p:cNvPr id="11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673100" y="3068226"/>
            <a:ext cx="44704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signature</a:t>
            </a:r>
          </a:p>
        </p:txBody>
      </p:sp>
      <p:sp>
        <p:nvSpPr>
          <p:cNvPr id="14" name="标题 1"/>
          <p:cNvSpPr>
            <a:spLocks noGrp="1"/>
          </p:cNvSpPr>
          <p:nvPr>
            <p:ph type="ctrTitle" hasCustomPrompt="1"/>
          </p:nvPr>
        </p:nvSpPr>
        <p:spPr>
          <a:xfrm>
            <a:off x="673101" y="1107434"/>
            <a:ext cx="4470400" cy="163252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altLang="zh-CN"/>
              <a:t>Conclusion</a:t>
            </a:r>
            <a:endParaRPr lang="zh-CN" altLang="en-US"/>
          </a:p>
        </p:txBody>
      </p:sp>
      <p:pic>
        <p:nvPicPr>
          <p:cNvPr id="17" name="图形 1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96556" y="1375007"/>
            <a:ext cx="3753205" cy="4107986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节标题">
    <p:bg>
      <p:bgPr>
        <a:gradFill flip="none">
          <a:gsLst>
            <a:gs pos="15000">
              <a:schemeClr val="accent1">
                <a:lumMod val="20000"/>
                <a:lumOff val="80000"/>
              </a:schemeClr>
            </a:gs>
            <a:gs pos="47000">
              <a:schemeClr val="bg1"/>
            </a:gs>
          </a:gsLst>
          <a:lin ang="7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5"/>
          <p:cNvSpPr txBox="1"/>
          <p:nvPr userDrawn="1"/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zh-CN" altLang="en-US"/>
          </a:p>
        </p:txBody>
      </p:sp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>
            <a:alphaModFix amt="1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909946">
            <a:off x="-1409427" y="3348311"/>
            <a:ext cx="5247486" cy="5247486"/>
          </a:xfrm>
          <a:prstGeom prst="rect">
            <a:avLst/>
          </a:prstGeom>
          <a:effectLst>
            <a:reflection endPos="0" dist="50800" dir="5400000" sy="-100000" algn="bl" rotWithShape="0"/>
          </a:effec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 userDrawn="1"/>
        </p:nvSpPr>
        <p:spPr>
          <a:xfrm>
            <a:off x="0" y="0"/>
            <a:ext cx="12192000" cy="4657743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101" y="1130300"/>
            <a:ext cx="5844994" cy="1289088"/>
          </a:xfrm>
          <a:effectLst>
            <a:outerShdw blurRad="25400" dist="38100" dir="2700000" algn="tl" rotWithShape="0">
              <a:prstClr val="black">
                <a:alpha val="15000"/>
              </a:prstClr>
            </a:outerShdw>
          </a:effectLst>
        </p:spPr>
        <p:txBody>
          <a:bodyPr anchor="ctr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73100" y="2463539"/>
            <a:ext cx="5844995" cy="25892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100" y="3457766"/>
            <a:ext cx="5844995" cy="25892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101" y="3758927"/>
            <a:ext cx="5844996" cy="29639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date</a:t>
            </a:r>
            <a:endParaRPr lang="zh-CN" altLang="en-US"/>
          </a:p>
        </p:txBody>
      </p:sp>
      <p:sp>
        <p:nvSpPr>
          <p:cNvPr id="72" name="等腰三角形 71"/>
          <p:cNvSpPr/>
          <p:nvPr userDrawn="1"/>
        </p:nvSpPr>
        <p:spPr>
          <a:xfrm>
            <a:off x="800100" y="4372459"/>
            <a:ext cx="558800" cy="327523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73" name="图形 7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1916" y="1242605"/>
            <a:ext cx="6611357" cy="3415138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4" name="图形 7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96556" y="1375007"/>
            <a:ext cx="3753205" cy="4107986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/>
          <p:cNvSpPr/>
          <p:nvPr userDrawn="1"/>
        </p:nvSpPr>
        <p:spPr>
          <a:xfrm>
            <a:off x="0" y="1905000"/>
            <a:ext cx="12192000" cy="2832100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lvl="0" algn="ctr"/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669925" y="2533649"/>
            <a:ext cx="10849447" cy="895351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zh-CN" altLang="en-US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671041" y="3429000"/>
            <a:ext cx="10849447" cy="1243895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6" name="图形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94648" y="2035634"/>
            <a:ext cx="4852573" cy="2506627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t>2023/11/16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/>
              <a:t>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</p:spTree>
  </p:cSld>
  <p:clrMapOvr>
    <a:masterClrMapping/>
  </p:clrMapOvr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bg>
      <p:bgPr>
        <a:gradFill>
          <a:gsLst>
            <a:gs pos="15000">
              <a:schemeClr val="accent1">
                <a:lumMod val="20000"/>
                <a:lumOff val="80000"/>
              </a:schemeClr>
            </a:gs>
            <a:gs pos="47000">
              <a:schemeClr val="bg1"/>
            </a:gs>
          </a:gsLst>
          <a:lin ang="7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t>2023/11/16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6" name="图片 5"/>
          <p:cNvPicPr>
            <a:picLocks noChangeAspect="1"/>
          </p:cNvPicPr>
          <p:nvPr userDrawn="1"/>
        </p:nvPicPr>
        <p:blipFill>
          <a:blip r:embed="rId2">
            <a:alphaModFix amt="1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909946">
            <a:off x="-1409427" y="3348311"/>
            <a:ext cx="5247486" cy="5247486"/>
          </a:xfrm>
          <a:prstGeom prst="rect">
            <a:avLst/>
          </a:prstGeom>
          <a:effectLst>
            <a:reflection endPos="0" dist="50800" dir="5400000" sy="-100000" algn="bl" rotWithShape="0"/>
          </a:effectLst>
        </p:spPr>
      </p:pic>
    </p:spTree>
  </p:cSld>
  <p:clrMapOvr>
    <a:masterClrMapping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/>
          <p:cNvSpPr/>
          <p:nvPr userDrawn="1"/>
        </p:nvSpPr>
        <p:spPr>
          <a:xfrm>
            <a:off x="0" y="1905000"/>
            <a:ext cx="12192000" cy="2832100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lvl="0" algn="ctr"/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669925" y="2533649"/>
            <a:ext cx="10849447" cy="895351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zh-CN" altLang="en-US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671041" y="3429000"/>
            <a:ext cx="10849447" cy="1243895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6" name="图形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94648" y="2035634"/>
            <a:ext cx="4852573" cy="2506627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/>
          <p:cNvSpPr/>
          <p:nvPr userDrawn="1"/>
        </p:nvSpPr>
        <p:spPr>
          <a:xfrm>
            <a:off x="0" y="0"/>
            <a:ext cx="12192000" cy="4657743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6" name="图形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1916" y="1219739"/>
            <a:ext cx="6611357" cy="3415138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2" name="等腰三角形 71"/>
          <p:cNvSpPr/>
          <p:nvPr userDrawn="1"/>
        </p:nvSpPr>
        <p:spPr>
          <a:xfrm>
            <a:off x="1181100" y="4387351"/>
            <a:ext cx="558800" cy="327523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62"/>
          <p:cNvSpPr>
            <a:spLocks noGrp="1"/>
          </p:cNvSpPr>
          <p:nvPr>
            <p:ph type="body" sz="quarter" idx="18" hasCustomPrompt="1"/>
          </p:nvPr>
        </p:nvSpPr>
        <p:spPr>
          <a:xfrm>
            <a:off x="673100" y="3364497"/>
            <a:ext cx="4470400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/>
              <a:t>data</a:t>
            </a:r>
          </a:p>
        </p:txBody>
      </p:sp>
      <p:sp>
        <p:nvSpPr>
          <p:cNvPr id="11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673100" y="3068226"/>
            <a:ext cx="44704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signature</a:t>
            </a:r>
          </a:p>
        </p:txBody>
      </p:sp>
      <p:sp>
        <p:nvSpPr>
          <p:cNvPr id="14" name="标题 1"/>
          <p:cNvSpPr>
            <a:spLocks noGrp="1"/>
          </p:cNvSpPr>
          <p:nvPr>
            <p:ph type="ctrTitle" hasCustomPrompt="1"/>
          </p:nvPr>
        </p:nvSpPr>
        <p:spPr>
          <a:xfrm>
            <a:off x="673101" y="1107434"/>
            <a:ext cx="4470400" cy="163252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altLang="zh-CN"/>
              <a:t>Conclusion</a:t>
            </a:r>
            <a:endParaRPr lang="zh-CN" altLang="en-US"/>
          </a:p>
        </p:txBody>
      </p:sp>
      <p:pic>
        <p:nvPicPr>
          <p:cNvPr id="17" name="图形 1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96556" y="1375007"/>
            <a:ext cx="3753205" cy="4107986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节标题">
    <p:bg>
      <p:bgPr>
        <a:gradFill flip="none">
          <a:gsLst>
            <a:gs pos="15000">
              <a:schemeClr val="accent1">
                <a:lumMod val="20000"/>
                <a:lumOff val="80000"/>
              </a:schemeClr>
            </a:gs>
            <a:gs pos="47000">
              <a:schemeClr val="bg1"/>
            </a:gs>
          </a:gsLst>
          <a:lin ang="7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5"/>
          <p:cNvSpPr txBox="1"/>
          <p:nvPr userDrawn="1"/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zh-CN" altLang="en-US"/>
          </a:p>
        </p:txBody>
      </p:sp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>
            <a:alphaModFix amt="1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909946">
            <a:off x="-1409427" y="3348311"/>
            <a:ext cx="5247486" cy="5247486"/>
          </a:xfrm>
          <a:prstGeom prst="rect">
            <a:avLst/>
          </a:prstGeom>
          <a:effectLst>
            <a:reflection endPos="0" dist="50800" dir="5400000" sy="-100000" algn="bl" rotWithShape="0"/>
          </a:effec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997768-0F3B-4C42-8732-89CAF429E39F}" type="datetime1">
              <a:rPr lang="zh-CN" altLang="en-US" smtClean="0"/>
              <a:t>2023/11/16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/>
              <a:t>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bg>
      <p:bgPr>
        <a:gradFill>
          <a:gsLst>
            <a:gs pos="15000">
              <a:schemeClr val="accent1">
                <a:lumMod val="20000"/>
                <a:lumOff val="80000"/>
              </a:schemeClr>
            </a:gs>
            <a:gs pos="47000">
              <a:schemeClr val="bg1"/>
            </a:gs>
          </a:gsLst>
          <a:lin ang="7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D0698E-25F7-2942-821D-B02E8F91024F}" type="datetime1">
              <a:rPr lang="zh-CN" altLang="en-US" smtClean="0"/>
              <a:t>2023/11/16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6" name="图片 5"/>
          <p:cNvPicPr>
            <a:picLocks noChangeAspect="1"/>
          </p:cNvPicPr>
          <p:nvPr userDrawn="1"/>
        </p:nvPicPr>
        <p:blipFill>
          <a:blip r:embed="rId2">
            <a:alphaModFix amt="1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909946">
            <a:off x="-1409427" y="3348311"/>
            <a:ext cx="5247486" cy="5247486"/>
          </a:xfrm>
          <a:prstGeom prst="rect">
            <a:avLst/>
          </a:prstGeom>
          <a:effectLst>
            <a:reflection endPos="0" dist="50800" dir="5400000" sy="-100000" algn="bl" rotWithShape="0"/>
          </a:effectLst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/>
          <p:cNvSpPr/>
          <p:nvPr userDrawn="1"/>
        </p:nvSpPr>
        <p:spPr>
          <a:xfrm>
            <a:off x="0" y="0"/>
            <a:ext cx="12192000" cy="4657743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6" name="图形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1916" y="1219739"/>
            <a:ext cx="6611357" cy="3415138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2" name="等腰三角形 71"/>
          <p:cNvSpPr/>
          <p:nvPr userDrawn="1"/>
        </p:nvSpPr>
        <p:spPr>
          <a:xfrm>
            <a:off x="1181100" y="4387351"/>
            <a:ext cx="558800" cy="327523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62"/>
          <p:cNvSpPr>
            <a:spLocks noGrp="1"/>
          </p:cNvSpPr>
          <p:nvPr>
            <p:ph type="body" sz="quarter" idx="18" hasCustomPrompt="1"/>
          </p:nvPr>
        </p:nvSpPr>
        <p:spPr>
          <a:xfrm>
            <a:off x="673100" y="3364497"/>
            <a:ext cx="4470400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/>
              <a:t>data</a:t>
            </a:r>
          </a:p>
        </p:txBody>
      </p:sp>
      <p:sp>
        <p:nvSpPr>
          <p:cNvPr id="11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673100" y="3068226"/>
            <a:ext cx="44704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signature</a:t>
            </a:r>
          </a:p>
        </p:txBody>
      </p:sp>
      <p:sp>
        <p:nvSpPr>
          <p:cNvPr id="14" name="标题 1"/>
          <p:cNvSpPr>
            <a:spLocks noGrp="1"/>
          </p:cNvSpPr>
          <p:nvPr>
            <p:ph type="ctrTitle" hasCustomPrompt="1"/>
          </p:nvPr>
        </p:nvSpPr>
        <p:spPr>
          <a:xfrm>
            <a:off x="673101" y="1107434"/>
            <a:ext cx="4470400" cy="163252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altLang="zh-CN"/>
              <a:t>Conclusion</a:t>
            </a:r>
            <a:endParaRPr lang="zh-CN" altLang="en-US"/>
          </a:p>
        </p:txBody>
      </p:sp>
      <p:pic>
        <p:nvPicPr>
          <p:cNvPr id="17" name="图形 1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96556" y="1375007"/>
            <a:ext cx="3753205" cy="4107986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节标题">
    <p:bg>
      <p:bgPr>
        <a:gradFill flip="none">
          <a:gsLst>
            <a:gs pos="15000">
              <a:schemeClr val="accent1">
                <a:lumMod val="20000"/>
                <a:lumOff val="80000"/>
              </a:schemeClr>
            </a:gs>
            <a:gs pos="47000">
              <a:schemeClr val="bg1"/>
            </a:gs>
          </a:gsLst>
          <a:lin ang="7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5"/>
          <p:cNvSpPr txBox="1"/>
          <p:nvPr userDrawn="1"/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zh-CN" altLang="en-US"/>
          </a:p>
        </p:txBody>
      </p:sp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>
            <a:alphaModFix amt="1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909946">
            <a:off x="-1409427" y="3348311"/>
            <a:ext cx="5247486" cy="5247486"/>
          </a:xfrm>
          <a:prstGeom prst="rect">
            <a:avLst/>
          </a:prstGeom>
          <a:effectLst>
            <a:reflection endPos="0" dist="50800" dir="5400000" sy="-100000" algn="bl" rotWithShape="0"/>
          </a:effec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 userDrawn="1"/>
        </p:nvSpPr>
        <p:spPr>
          <a:xfrm>
            <a:off x="0" y="0"/>
            <a:ext cx="12192000" cy="4657743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101" y="1130300"/>
            <a:ext cx="5844994" cy="1289088"/>
          </a:xfrm>
          <a:effectLst>
            <a:outerShdw blurRad="25400" dist="38100" dir="2700000" algn="tl" rotWithShape="0">
              <a:prstClr val="black">
                <a:alpha val="15000"/>
              </a:prstClr>
            </a:outerShdw>
          </a:effectLst>
        </p:spPr>
        <p:txBody>
          <a:bodyPr anchor="ctr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73100" y="2463539"/>
            <a:ext cx="5844995" cy="25892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100" y="3457766"/>
            <a:ext cx="5844995" cy="25892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101" y="3758927"/>
            <a:ext cx="5844996" cy="29639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date</a:t>
            </a:r>
            <a:endParaRPr lang="zh-CN" altLang="en-US"/>
          </a:p>
        </p:txBody>
      </p:sp>
      <p:sp>
        <p:nvSpPr>
          <p:cNvPr id="72" name="等腰三角形 71"/>
          <p:cNvSpPr/>
          <p:nvPr userDrawn="1"/>
        </p:nvSpPr>
        <p:spPr>
          <a:xfrm>
            <a:off x="800100" y="4372459"/>
            <a:ext cx="558800" cy="327523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73" name="图形 7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1916" y="1242605"/>
            <a:ext cx="6611357" cy="3415138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4" name="图形 7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96556" y="1375007"/>
            <a:ext cx="3753205" cy="4107986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/>
          <p:cNvSpPr/>
          <p:nvPr userDrawn="1"/>
        </p:nvSpPr>
        <p:spPr>
          <a:xfrm>
            <a:off x="0" y="1905000"/>
            <a:ext cx="12192000" cy="2832100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lvl="0" algn="ctr"/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669925" y="2533649"/>
            <a:ext cx="10849447" cy="895351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zh-CN" altLang="en-US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671041" y="3429000"/>
            <a:ext cx="10849447" cy="1243895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6" name="图形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94648" y="2035634"/>
            <a:ext cx="4852573" cy="2506627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zh-CN" altLang="en-US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F6DE2F0B-553A-0F46-B53A-381754DB6C4C}" type="datetime1">
              <a:rPr lang="zh-CN" altLang="en-US" smtClean="0"/>
              <a:t>2023/11/16</a:t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65" r:id="rId8"/>
    <p:sldLayoutId id="2147483666" r:id="rId9"/>
    <p:sldLayoutId id="2147483667" r:id="rId10"/>
    <p:sldLayoutId id="2147483668" r:id="rId11"/>
    <p:sldLayoutId id="2147483669" r:id="rId12"/>
    <p:sldLayoutId id="2147483670" r:id="rId13"/>
    <p:sldLayoutId id="2147483671" r:id="rId14"/>
  </p:sldLayoutIdLst>
  <p:hf hdr="0" ftr="0" dt="0"/>
  <p:txStyles>
    <p:titleStyle>
      <a:lvl1pPr algn="l" defTabSz="913765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376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zh-CN" altLang="en-US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t>2023/11/16</a:t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60" r:id="rId4"/>
    <p:sldLayoutId id="2147483661" r:id="rId5"/>
    <p:sldLayoutId id="2147483662" r:id="rId6"/>
    <p:sldLayoutId id="2147483663" r:id="rId7"/>
  </p:sldLayoutIdLst>
  <p:hf hdr="0" ftr="0" dt="0"/>
  <p:txStyles>
    <p:titleStyle>
      <a:lvl1pPr algn="l" defTabSz="913765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376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.xml"/><Relationship Id="rId7" Type="http://schemas.openxmlformats.org/officeDocument/2006/relationships/image" Target="../media/image4.emf"/><Relationship Id="rId2" Type="http://schemas.openxmlformats.org/officeDocument/2006/relationships/tags" Target="../tags/tag1.x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7.png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jp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g"/><Relationship Id="rId3" Type="http://schemas.openxmlformats.org/officeDocument/2006/relationships/image" Target="../media/image7.png"/><Relationship Id="rId7" Type="http://schemas.openxmlformats.org/officeDocument/2006/relationships/image" Target="../media/image15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4.jpg"/><Relationship Id="rId5" Type="http://schemas.openxmlformats.org/officeDocument/2006/relationships/image" Target="../media/image13.jpg"/><Relationship Id="rId4" Type="http://schemas.openxmlformats.org/officeDocument/2006/relationships/image" Target="../media/image12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4.xml"/><Relationship Id="rId7" Type="http://schemas.openxmlformats.org/officeDocument/2006/relationships/image" Target="../media/image5.png"/><Relationship Id="rId2" Type="http://schemas.openxmlformats.org/officeDocument/2006/relationships/tags" Target="../tags/tag3.xml"/><Relationship Id="rId1" Type="http://schemas.openxmlformats.org/officeDocument/2006/relationships/themeOverride" Target="../theme/themeOverride2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9525" imgH="9525" progId="TCLayout.ActiveDocument.1">
                  <p:embed/>
                </p:oleObj>
              </mc:Choice>
              <mc:Fallback>
                <p:oleObj name="think-cell Slide" r:id="rId6" imgW="9525" imgH="9525" progId="TCLayout.ActiveDocument.1">
                  <p:embed/>
                  <p:pic>
                    <p:nvPicPr>
                      <p:cNvPr id="3" name="对象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906776" y="2169043"/>
            <a:ext cx="5346078" cy="1343076"/>
          </a:xfrm>
        </p:spPr>
        <p:txBody>
          <a:bodyPr>
            <a:normAutofit fontScale="90000"/>
          </a:bodyPr>
          <a:lstStyle/>
          <a:p>
            <a:r>
              <a:rPr kumimoji="1" lang="en-US" altLang="zh-CN" sz="3200" dirty="0">
                <a:sym typeface="+mn-ea"/>
              </a:rPr>
              <a:t>Analysis of the energy sustainability of Machine Learning algorithms</a:t>
            </a:r>
            <a:endParaRPr lang="en-US" altLang="zh-CN" sz="3200" dirty="0">
              <a:cs typeface="Arial"/>
            </a:endParaRPr>
          </a:p>
        </p:txBody>
      </p:sp>
      <p:sp>
        <p:nvSpPr>
          <p:cNvPr id="11" name="文本占位符 5">
            <a:extLst>
              <a:ext uri="{FF2B5EF4-FFF2-40B4-BE49-F238E27FC236}">
                <a16:creationId xmlns:a16="http://schemas.microsoft.com/office/drawing/2014/main" id="{33C6CE68-C2C1-F282-524E-5539C7E285B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06776" y="4035993"/>
            <a:ext cx="2114554" cy="466204"/>
          </a:xfrm>
        </p:spPr>
        <p:txBody>
          <a:bodyPr/>
          <a:lstStyle/>
          <a:p>
            <a:pPr fontAlgn="auto">
              <a:lnSpc>
                <a:spcPts val="800"/>
              </a:lnSpc>
            </a:pPr>
            <a:r>
              <a:rPr lang="en-US" altLang="zh-CN" sz="1400" dirty="0">
                <a:sym typeface="+mn-ea"/>
              </a:rPr>
              <a:t>Students:</a:t>
            </a:r>
          </a:p>
          <a:p>
            <a:pPr>
              <a:lnSpc>
                <a:spcPts val="800"/>
              </a:lnSpc>
            </a:pPr>
            <a:r>
              <a:rPr lang="zh-CN" altLang="en-US" sz="1400" dirty="0">
                <a:sym typeface="+mn-ea"/>
              </a:rPr>
              <a:t>                </a:t>
            </a:r>
            <a:r>
              <a:rPr lang="en-US" altLang="zh-CN" sz="1400" dirty="0">
                <a:sym typeface="+mn-ea"/>
              </a:rPr>
              <a:t>Yin Jun</a:t>
            </a:r>
            <a:endParaRPr lang="en-US" altLang="zh-CN" sz="1400" dirty="0">
              <a:cs typeface="Arial"/>
            </a:endParaRPr>
          </a:p>
        </p:txBody>
      </p:sp>
      <p:cxnSp>
        <p:nvCxnSpPr>
          <p:cNvPr id="21" name="直接连接符 20"/>
          <p:cNvCxnSpPr/>
          <p:nvPr/>
        </p:nvCxnSpPr>
        <p:spPr>
          <a:xfrm>
            <a:off x="669925" y="934085"/>
            <a:ext cx="5715" cy="14344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图片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-6350" y="5506720"/>
            <a:ext cx="3027680" cy="1332230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378585" y="6118225"/>
            <a:ext cx="1642745" cy="720725"/>
          </a:xfrm>
          <a:prstGeom prst="rect">
            <a:avLst/>
          </a:prstGeom>
        </p:spPr>
      </p:pic>
      <p:sp>
        <p:nvSpPr>
          <p:cNvPr id="12" name="文本框 11">
            <a:extLst>
              <a:ext uri="{FF2B5EF4-FFF2-40B4-BE49-F238E27FC236}">
                <a16:creationId xmlns:a16="http://schemas.microsoft.com/office/drawing/2014/main" id="{8E874E43-FE07-F756-0A26-33F5EA3900EA}"/>
              </a:ext>
            </a:extLst>
          </p:cNvPr>
          <p:cNvSpPr txBox="1"/>
          <p:nvPr/>
        </p:nvSpPr>
        <p:spPr>
          <a:xfrm>
            <a:off x="3299909" y="4035993"/>
            <a:ext cx="2716095" cy="6717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765">
              <a:lnSpc>
                <a:spcPts val="800"/>
              </a:lnSpc>
              <a:spcBef>
                <a:spcPts val="1000"/>
              </a:spcBef>
            </a:pPr>
            <a:r>
              <a:rPr lang="en-US" altLang="zh-CN" sz="1400" dirty="0">
                <a:solidFill>
                  <a:schemeClr val="bg1"/>
                </a:solidFill>
              </a:rPr>
              <a:t>Tutors:</a:t>
            </a:r>
            <a:r>
              <a:rPr lang="zh-CN" altLang="en-US" sz="1400" dirty="0">
                <a:solidFill>
                  <a:schemeClr val="bg1"/>
                </a:solidFill>
              </a:rPr>
              <a:t>   </a:t>
            </a:r>
            <a:endParaRPr lang="en-US" altLang="zh-CN" sz="1400" dirty="0">
              <a:solidFill>
                <a:schemeClr val="bg1"/>
              </a:solidFill>
            </a:endParaRPr>
          </a:p>
          <a:p>
            <a:pPr defTabSz="913765">
              <a:lnSpc>
                <a:spcPts val="800"/>
              </a:lnSpc>
              <a:spcBef>
                <a:spcPts val="1000"/>
              </a:spcBef>
            </a:pPr>
            <a:r>
              <a:rPr lang="en-US" altLang="zh-CN" sz="1400" dirty="0">
                <a:solidFill>
                  <a:schemeClr val="bg1"/>
                </a:solidFill>
              </a:rPr>
              <a:t>              Prof.</a:t>
            </a:r>
            <a:r>
              <a:rPr lang="zh-CN" altLang="en-US" sz="1400" dirty="0">
                <a:solidFill>
                  <a:schemeClr val="bg1"/>
                </a:solidFill>
              </a:rPr>
              <a:t> </a:t>
            </a:r>
            <a:r>
              <a:rPr lang="en-US" altLang="zh-CN" sz="1400" dirty="0" err="1">
                <a:solidFill>
                  <a:schemeClr val="bg1"/>
                </a:solidFill>
              </a:rPr>
              <a:t>Meo</a:t>
            </a:r>
            <a:r>
              <a:rPr lang="zh-CN" altLang="en-US" sz="1400" dirty="0">
                <a:solidFill>
                  <a:schemeClr val="bg1"/>
                </a:solidFill>
              </a:rPr>
              <a:t> </a:t>
            </a:r>
            <a:r>
              <a:rPr lang="en-US" altLang="zh-CN" sz="1400" dirty="0">
                <a:solidFill>
                  <a:schemeClr val="bg1"/>
                </a:solidFill>
              </a:rPr>
              <a:t>Michela</a:t>
            </a:r>
          </a:p>
          <a:p>
            <a:pPr defTabSz="913765">
              <a:lnSpc>
                <a:spcPts val="800"/>
              </a:lnSpc>
              <a:spcBef>
                <a:spcPts val="1000"/>
              </a:spcBef>
            </a:pPr>
            <a:r>
              <a:rPr lang="en-US" altLang="zh-CN" sz="1400" dirty="0">
                <a:solidFill>
                  <a:schemeClr val="bg1"/>
                </a:solidFill>
              </a:rPr>
              <a:t>              Prof. </a:t>
            </a:r>
            <a:r>
              <a:rPr lang="en-US" altLang="zh-CN" sz="1400" dirty="0" err="1">
                <a:solidFill>
                  <a:schemeClr val="bg1"/>
                </a:solidFill>
              </a:rPr>
              <a:t>Vallero</a:t>
            </a:r>
            <a:r>
              <a:rPr lang="zh-CN" altLang="en-US" sz="1400" dirty="0">
                <a:solidFill>
                  <a:schemeClr val="bg1"/>
                </a:solidFill>
              </a:rPr>
              <a:t> </a:t>
            </a:r>
            <a:r>
              <a:rPr lang="en-US" altLang="zh-CN" sz="1400" dirty="0">
                <a:solidFill>
                  <a:schemeClr val="bg1"/>
                </a:solidFill>
              </a:rPr>
              <a:t>Greta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4C51D62C-5F52-EF1C-138B-041679BB5F94}"/>
              </a:ext>
            </a:extLst>
          </p:cNvPr>
          <p:cNvSpPr txBox="1"/>
          <p:nvPr/>
        </p:nvSpPr>
        <p:spPr>
          <a:xfrm>
            <a:off x="5329413" y="6309310"/>
            <a:ext cx="1305303" cy="33855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kumimoji="1" lang="en-US" altLang="zh-CN" sz="1600" dirty="0"/>
              <a:t>23/10/2023</a:t>
            </a:r>
            <a:endParaRPr kumimoji="1" lang="zh-CN" altLang="en-US" sz="1600" dirty="0"/>
          </a:p>
        </p:txBody>
      </p:sp>
      <p:pic>
        <p:nvPicPr>
          <p:cNvPr id="6" name="Google Shape;64;p1">
            <a:extLst>
              <a:ext uri="{FF2B5EF4-FFF2-40B4-BE49-F238E27FC236}">
                <a16:creationId xmlns:a16="http://schemas.microsoft.com/office/drawing/2014/main" id="{3123716C-7B7C-1213-1F9D-16B1AC486293}"/>
              </a:ext>
            </a:extLst>
          </p:cNvPr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-6350" y="5423535"/>
            <a:ext cx="3292475" cy="1434465"/>
          </a:xfrm>
          <a:prstGeom prst="rect">
            <a:avLst/>
          </a:prstGeom>
          <a:noFill/>
          <a:ln>
            <a:noFill/>
          </a:ln>
        </p:spPr>
      </p:pic>
      <p:sp>
        <p:nvSpPr>
          <p:cNvPr id="16" name="文本框 15">
            <a:extLst>
              <a:ext uri="{FF2B5EF4-FFF2-40B4-BE49-F238E27FC236}">
                <a16:creationId xmlns:a16="http://schemas.microsoft.com/office/drawing/2014/main" id="{1C4E181F-A543-E0B1-0B43-5DD1B6D26ADC}"/>
              </a:ext>
            </a:extLst>
          </p:cNvPr>
          <p:cNvSpPr txBox="1"/>
          <p:nvPr/>
        </p:nvSpPr>
        <p:spPr>
          <a:xfrm>
            <a:off x="5000088" y="5933559"/>
            <a:ext cx="19639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dirty="0"/>
              <a:t>First presentation</a:t>
            </a:r>
            <a:endParaRPr kumimoji="1" lang="zh-CN" altLang="en-US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标题 14">
            <a:extLst>
              <a:ext uri="{FF2B5EF4-FFF2-40B4-BE49-F238E27FC236}">
                <a16:creationId xmlns:a16="http://schemas.microsoft.com/office/drawing/2014/main" id="{C0F99ECD-93A5-AF94-206D-B3C2D29DA1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Agenda</a:t>
            </a:r>
            <a:endParaRPr lang="zh-CN" altLang="en-US" dirty="0"/>
          </a:p>
        </p:txBody>
      </p:sp>
      <p:graphicFrame>
        <p:nvGraphicFramePr>
          <p:cNvPr id="18" name="Content Placeholder 2">
            <a:extLst>
              <a:ext uri="{FF2B5EF4-FFF2-40B4-BE49-F238E27FC236}">
                <a16:creationId xmlns:a16="http://schemas.microsoft.com/office/drawing/2014/main" id="{4FA32BF4-CC4B-4E91-FE4D-9A18B2134C9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17869968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2" name="Google Shape;64;p1">
            <a:extLst>
              <a:ext uri="{FF2B5EF4-FFF2-40B4-BE49-F238E27FC236}">
                <a16:creationId xmlns:a16="http://schemas.microsoft.com/office/drawing/2014/main" id="{737FC5B6-5184-D698-21FB-428DF6438BC9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9863328" y="1"/>
            <a:ext cx="2328672" cy="10287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F9AD5E64-E9FA-3BD3-AEF9-4C1616C904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45649330"/>
      </p:ext>
    </p:extLst>
  </p:cSld>
  <p:clrMapOvr>
    <a:masterClrMapping/>
  </p:clrMapOvr>
  <p:transition>
    <p:dissolv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 rtl="0"/>
            <a:r>
              <a:rPr lang="en-US" altLang="zh-CN" sz="2800" b="1" dirty="0">
                <a:solidFill>
                  <a:schemeClr val="tx1"/>
                </a:solidFill>
              </a:rPr>
              <a:t>Last time question </a:t>
            </a:r>
          </a:p>
        </p:txBody>
      </p:sp>
      <p:pic>
        <p:nvPicPr>
          <p:cNvPr id="14" name="Google Shape;64;p1">
            <a:extLst>
              <a:ext uri="{FF2B5EF4-FFF2-40B4-BE49-F238E27FC236}">
                <a16:creationId xmlns:a16="http://schemas.microsoft.com/office/drawing/2014/main" id="{04256299-C36C-4B6F-AC8E-D88F264111A7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863328" y="1"/>
            <a:ext cx="2328672" cy="10287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文本框 2">
            <a:extLst>
              <a:ext uri="{FF2B5EF4-FFF2-40B4-BE49-F238E27FC236}">
                <a16:creationId xmlns:a16="http://schemas.microsoft.com/office/drawing/2014/main" id="{051253A1-94A4-B8CC-61A8-CBC3C587F269}"/>
              </a:ext>
            </a:extLst>
          </p:cNvPr>
          <p:cNvSpPr txBox="1"/>
          <p:nvPr/>
        </p:nvSpPr>
        <p:spPr>
          <a:xfrm>
            <a:off x="669924" y="1138066"/>
            <a:ext cx="181652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600" dirty="0"/>
              <a:t>1.to_device() time</a:t>
            </a:r>
            <a:endParaRPr kumimoji="1" lang="zh-CN" altLang="en-US" sz="1600" dirty="0"/>
          </a:p>
        </p:txBody>
      </p:sp>
      <p:pic>
        <p:nvPicPr>
          <p:cNvPr id="6" name="图片 5" descr="文本&#10;&#10;描述已自动生成">
            <a:extLst>
              <a:ext uri="{FF2B5EF4-FFF2-40B4-BE49-F238E27FC236}">
                <a16:creationId xmlns:a16="http://schemas.microsoft.com/office/drawing/2014/main" id="{A7CBC006-1384-CEF6-245F-E3FB3622BE7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136" y="1522669"/>
            <a:ext cx="2667000" cy="2057400"/>
          </a:xfrm>
          <a:prstGeom prst="rect">
            <a:avLst/>
          </a:prstGeom>
        </p:spPr>
      </p:pic>
      <p:sp>
        <p:nvSpPr>
          <p:cNvPr id="7" name="文本框 6">
            <a:extLst>
              <a:ext uri="{FF2B5EF4-FFF2-40B4-BE49-F238E27FC236}">
                <a16:creationId xmlns:a16="http://schemas.microsoft.com/office/drawing/2014/main" id="{94479323-32E2-89A0-46D6-A5F5CC0793F5}"/>
              </a:ext>
            </a:extLst>
          </p:cNvPr>
          <p:cNvSpPr txBox="1"/>
          <p:nvPr/>
        </p:nvSpPr>
        <p:spPr>
          <a:xfrm>
            <a:off x="1504967" y="3580069"/>
            <a:ext cx="123533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200" dirty="0"/>
              <a:t>Training on </a:t>
            </a:r>
            <a:r>
              <a:rPr kumimoji="1" lang="en-US" altLang="zh-CN" sz="1200" dirty="0" err="1"/>
              <a:t>cpu</a:t>
            </a:r>
            <a:endParaRPr kumimoji="1" lang="en-US" altLang="zh-CN" sz="1200" dirty="0"/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FEC12316-685C-D10F-7580-8872E9F5329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64131" y="1522669"/>
            <a:ext cx="2674620" cy="2057400"/>
          </a:xfrm>
          <a:prstGeom prst="rect">
            <a:avLst/>
          </a:prstGeom>
        </p:spPr>
      </p:pic>
      <p:sp>
        <p:nvSpPr>
          <p:cNvPr id="9" name="文本框 8">
            <a:extLst>
              <a:ext uri="{FF2B5EF4-FFF2-40B4-BE49-F238E27FC236}">
                <a16:creationId xmlns:a16="http://schemas.microsoft.com/office/drawing/2014/main" id="{39E52C0B-E3ED-9EE6-1C68-8CB8630E80F3}"/>
              </a:ext>
            </a:extLst>
          </p:cNvPr>
          <p:cNvSpPr txBox="1"/>
          <p:nvPr/>
        </p:nvSpPr>
        <p:spPr>
          <a:xfrm>
            <a:off x="4283772" y="3589859"/>
            <a:ext cx="127862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200" dirty="0"/>
              <a:t>Training on </a:t>
            </a:r>
            <a:r>
              <a:rPr kumimoji="1" lang="en-US" altLang="zh-CN" sz="1200" dirty="0" err="1"/>
              <a:t>mps</a:t>
            </a:r>
            <a:endParaRPr kumimoji="1" lang="en-US" altLang="zh-CN" sz="1200" dirty="0"/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DC196A68-F7A6-7D65-0FE3-FBFEF690A91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73345" y="1522669"/>
            <a:ext cx="2692400" cy="2057400"/>
          </a:xfrm>
          <a:prstGeom prst="rect">
            <a:avLst/>
          </a:prstGeom>
        </p:spPr>
      </p:pic>
      <p:sp>
        <p:nvSpPr>
          <p:cNvPr id="11" name="文本框 10">
            <a:extLst>
              <a:ext uri="{FF2B5EF4-FFF2-40B4-BE49-F238E27FC236}">
                <a16:creationId xmlns:a16="http://schemas.microsoft.com/office/drawing/2014/main" id="{625454C6-486E-7854-9589-33B85C5BDA65}"/>
              </a:ext>
            </a:extLst>
          </p:cNvPr>
          <p:cNvSpPr txBox="1"/>
          <p:nvPr/>
        </p:nvSpPr>
        <p:spPr>
          <a:xfrm>
            <a:off x="7180235" y="3589859"/>
            <a:ext cx="124335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200" dirty="0"/>
              <a:t>Training on </a:t>
            </a:r>
            <a:r>
              <a:rPr kumimoji="1" lang="en-US" altLang="zh-CN" sz="1200" dirty="0" err="1"/>
              <a:t>gpu</a:t>
            </a:r>
            <a:endParaRPr kumimoji="1" lang="en-US" altLang="zh-CN" sz="1200" dirty="0"/>
          </a:p>
        </p:txBody>
      </p:sp>
      <p:pic>
        <p:nvPicPr>
          <p:cNvPr id="12" name="图片 11">
            <a:extLst>
              <a:ext uri="{FF2B5EF4-FFF2-40B4-BE49-F238E27FC236}">
                <a16:creationId xmlns:a16="http://schemas.microsoft.com/office/drawing/2014/main" id="{6F862EEE-4748-CC80-F0AC-89114E7740F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9924" y="3968611"/>
            <a:ext cx="4903662" cy="2472094"/>
          </a:xfrm>
          <a:prstGeom prst="rect">
            <a:avLst/>
          </a:prstGeom>
        </p:spPr>
      </p:pic>
      <p:sp>
        <p:nvSpPr>
          <p:cNvPr id="13" name="文本框 12">
            <a:extLst>
              <a:ext uri="{FF2B5EF4-FFF2-40B4-BE49-F238E27FC236}">
                <a16:creationId xmlns:a16="http://schemas.microsoft.com/office/drawing/2014/main" id="{3DFF9316-C7AC-530A-9104-8BBD4C2DD11E}"/>
              </a:ext>
            </a:extLst>
          </p:cNvPr>
          <p:cNvSpPr txBox="1"/>
          <p:nvPr/>
        </p:nvSpPr>
        <p:spPr>
          <a:xfrm>
            <a:off x="2328108" y="6407957"/>
            <a:ext cx="158729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400" dirty="0"/>
              <a:t>Multi epoch result</a:t>
            </a:r>
          </a:p>
        </p:txBody>
      </p:sp>
    </p:spTree>
    <p:extLst>
      <p:ext uri="{BB962C8B-B14F-4D97-AF65-F5344CB8AC3E}">
        <p14:creationId xmlns:p14="http://schemas.microsoft.com/office/powerpoint/2010/main" val="1579079651"/>
      </p:ext>
    </p:extLst>
  </p:cSld>
  <p:clrMapOvr>
    <a:masterClrMapping/>
  </p:clrMapOvr>
  <p:transition>
    <p:dissolv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标题 14">
            <a:extLst>
              <a:ext uri="{FF2B5EF4-FFF2-40B4-BE49-F238E27FC236}">
                <a16:creationId xmlns:a16="http://schemas.microsoft.com/office/drawing/2014/main" id="{C0F99ECD-93A5-AF94-206D-B3C2D29DA1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Agenda</a:t>
            </a:r>
            <a:endParaRPr lang="zh-CN" altLang="en-US" dirty="0"/>
          </a:p>
        </p:txBody>
      </p:sp>
      <p:graphicFrame>
        <p:nvGraphicFramePr>
          <p:cNvPr id="18" name="Content Placeholder 2">
            <a:extLst>
              <a:ext uri="{FF2B5EF4-FFF2-40B4-BE49-F238E27FC236}">
                <a16:creationId xmlns:a16="http://schemas.microsoft.com/office/drawing/2014/main" id="{4FA32BF4-CC4B-4E91-FE4D-9A18B2134C9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12654766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2" name="Google Shape;64;p1">
            <a:extLst>
              <a:ext uri="{FF2B5EF4-FFF2-40B4-BE49-F238E27FC236}">
                <a16:creationId xmlns:a16="http://schemas.microsoft.com/office/drawing/2014/main" id="{737FC5B6-5184-D698-21FB-428DF6438BC9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9863328" y="1"/>
            <a:ext cx="2328672" cy="10287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F9AD5E64-E9FA-3BD3-AEF9-4C1616C904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82942068"/>
      </p:ext>
    </p:extLst>
  </p:cSld>
  <p:clrMapOvr>
    <a:masterClrMapping/>
  </p:clrMapOvr>
  <p:transition>
    <p:dissolv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4" y="-8794"/>
            <a:ext cx="10850563" cy="1028699"/>
          </a:xfrm>
        </p:spPr>
        <p:txBody>
          <a:bodyPr/>
          <a:lstStyle/>
          <a:p>
            <a:r>
              <a:rPr lang="en-US" altLang="zh-CN" sz="2800" b="1" dirty="0">
                <a:solidFill>
                  <a:schemeClr val="tx1"/>
                </a:solidFill>
              </a:rPr>
              <a:t>Simulation results</a:t>
            </a:r>
            <a:endParaRPr lang="en-US" altLang="zh-CN" dirty="0"/>
          </a:p>
        </p:txBody>
      </p:sp>
      <p:pic>
        <p:nvPicPr>
          <p:cNvPr id="4" name="Google Shape;64;p1" descr="徽标&#10;&#10;描述已自动生成">
            <a:extLst>
              <a:ext uri="{FF2B5EF4-FFF2-40B4-BE49-F238E27FC236}">
                <a16:creationId xmlns:a16="http://schemas.microsoft.com/office/drawing/2014/main" id="{B926DC82-46B1-7389-7F3F-3D47478E3623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863328" y="1"/>
            <a:ext cx="2328672" cy="1028700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图片 6" descr="图表, 折线图&#10;&#10;描述已自动生成">
            <a:extLst>
              <a:ext uri="{FF2B5EF4-FFF2-40B4-BE49-F238E27FC236}">
                <a16:creationId xmlns:a16="http://schemas.microsoft.com/office/drawing/2014/main" id="{06CED3BC-CC51-BBB6-F304-33C51DA50C2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924" y="1487663"/>
            <a:ext cx="3361570" cy="1842140"/>
          </a:xfrm>
          <a:prstGeom prst="rect">
            <a:avLst/>
          </a:prstGeom>
        </p:spPr>
      </p:pic>
      <p:pic>
        <p:nvPicPr>
          <p:cNvPr id="21" name="图片 20" descr="图表, 折线图&#10;&#10;描述已自动生成">
            <a:extLst>
              <a:ext uri="{FF2B5EF4-FFF2-40B4-BE49-F238E27FC236}">
                <a16:creationId xmlns:a16="http://schemas.microsoft.com/office/drawing/2014/main" id="{EAD1740B-9CF9-F325-4C18-916A222B0F2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76222" y="1532498"/>
            <a:ext cx="3244234" cy="1797305"/>
          </a:xfrm>
          <a:prstGeom prst="rect">
            <a:avLst/>
          </a:prstGeom>
        </p:spPr>
      </p:pic>
      <p:pic>
        <p:nvPicPr>
          <p:cNvPr id="26" name="图片 25" descr="图表, 直方图&#10;&#10;描述已自动生成">
            <a:extLst>
              <a:ext uri="{FF2B5EF4-FFF2-40B4-BE49-F238E27FC236}">
                <a16:creationId xmlns:a16="http://schemas.microsoft.com/office/drawing/2014/main" id="{2201FF2D-2429-2F44-66D4-D374D259FFB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08471" y="3842396"/>
            <a:ext cx="3579735" cy="1825664"/>
          </a:xfrm>
          <a:prstGeom prst="rect">
            <a:avLst/>
          </a:prstGeom>
        </p:spPr>
      </p:pic>
      <p:pic>
        <p:nvPicPr>
          <p:cNvPr id="28" name="图片 27" descr="图表, 条形图, 直方图&#10;&#10;描述已自动生成">
            <a:extLst>
              <a:ext uri="{FF2B5EF4-FFF2-40B4-BE49-F238E27FC236}">
                <a16:creationId xmlns:a16="http://schemas.microsoft.com/office/drawing/2014/main" id="{3205BA7C-4D35-B686-8500-47DD8763B5E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095" y="3842396"/>
            <a:ext cx="3524127" cy="1797305"/>
          </a:xfrm>
          <a:prstGeom prst="rect">
            <a:avLst/>
          </a:prstGeom>
        </p:spPr>
      </p:pic>
      <p:pic>
        <p:nvPicPr>
          <p:cNvPr id="30" name="图片 29" descr="图表, 直方图&#10;&#10;描述已自动生成">
            <a:extLst>
              <a:ext uri="{FF2B5EF4-FFF2-40B4-BE49-F238E27FC236}">
                <a16:creationId xmlns:a16="http://schemas.microsoft.com/office/drawing/2014/main" id="{DA063869-0081-5E18-7384-D433FC3FDCB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5356" y="3845246"/>
            <a:ext cx="3642414" cy="1864916"/>
          </a:xfrm>
          <a:prstGeom prst="rect">
            <a:avLst/>
          </a:prstGeom>
        </p:spPr>
      </p:pic>
      <p:sp>
        <p:nvSpPr>
          <p:cNvPr id="31" name="文本框 30">
            <a:extLst>
              <a:ext uri="{FF2B5EF4-FFF2-40B4-BE49-F238E27FC236}">
                <a16:creationId xmlns:a16="http://schemas.microsoft.com/office/drawing/2014/main" id="{D8B736C7-CAD8-9D9C-526C-AE5509FCD440}"/>
              </a:ext>
            </a:extLst>
          </p:cNvPr>
          <p:cNvSpPr txBox="1"/>
          <p:nvPr/>
        </p:nvSpPr>
        <p:spPr>
          <a:xfrm>
            <a:off x="756518" y="1118331"/>
            <a:ext cx="18004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dirty="0"/>
              <a:t>Optimizer: SGD</a:t>
            </a:r>
          </a:p>
        </p:txBody>
      </p:sp>
      <p:sp>
        <p:nvSpPr>
          <p:cNvPr id="32" name="文本框 31">
            <a:extLst>
              <a:ext uri="{FF2B5EF4-FFF2-40B4-BE49-F238E27FC236}">
                <a16:creationId xmlns:a16="http://schemas.microsoft.com/office/drawing/2014/main" id="{3A881B0B-E077-0293-7666-FA4B87D21A46}"/>
              </a:ext>
            </a:extLst>
          </p:cNvPr>
          <p:cNvSpPr txBox="1"/>
          <p:nvPr/>
        </p:nvSpPr>
        <p:spPr>
          <a:xfrm>
            <a:off x="669924" y="5920575"/>
            <a:ext cx="733220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400" dirty="0" err="1"/>
              <a:t>nvidia-smi</a:t>
            </a:r>
            <a:r>
              <a:rPr kumimoji="1" lang="en-US" altLang="zh-CN" sz="1400" dirty="0"/>
              <a:t> --query-</a:t>
            </a:r>
            <a:r>
              <a:rPr kumimoji="1" lang="en-US" altLang="zh-CN" sz="1400" dirty="0" err="1"/>
              <a:t>gpu</a:t>
            </a:r>
            <a:r>
              <a:rPr kumimoji="1" lang="en-US" altLang="zh-CN" sz="1400" dirty="0"/>
              <a:t>=</a:t>
            </a:r>
            <a:r>
              <a:rPr kumimoji="1" lang="en-US" altLang="zh-CN" sz="1400" dirty="0" err="1"/>
              <a:t>power.draw</a:t>
            </a:r>
            <a:r>
              <a:rPr kumimoji="1" lang="en-US" altLang="zh-CN" sz="1400" dirty="0"/>
              <a:t> --format=csv --loop-</a:t>
            </a:r>
            <a:r>
              <a:rPr kumimoji="1" lang="en-US" altLang="zh-CN" sz="1400" dirty="0" err="1"/>
              <a:t>ms</a:t>
            </a:r>
            <a:r>
              <a:rPr kumimoji="1" lang="en-US" altLang="zh-CN" sz="1400" dirty="0"/>
              <a:t>=1000 &gt; </a:t>
            </a:r>
            <a:r>
              <a:rPr kumimoji="1" lang="en-US" altLang="zh-CN" sz="1400" dirty="0" err="1"/>
              <a:t>gpu_power_usage.csv</a:t>
            </a:r>
            <a:endParaRPr kumimoji="1" lang="en-US" altLang="zh-CN" sz="1400" dirty="0"/>
          </a:p>
        </p:txBody>
      </p:sp>
    </p:spTree>
    <p:extLst>
      <p:ext uri="{BB962C8B-B14F-4D97-AF65-F5344CB8AC3E}">
        <p14:creationId xmlns:p14="http://schemas.microsoft.com/office/powerpoint/2010/main" val="2483509572"/>
      </p:ext>
    </p:extLst>
  </p:cSld>
  <p:clrMapOvr>
    <a:masterClrMapping/>
  </p:clrMapOvr>
  <p:transition>
    <p:checker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4" y="-8794"/>
            <a:ext cx="10850563" cy="1028699"/>
          </a:xfrm>
        </p:spPr>
        <p:txBody>
          <a:bodyPr/>
          <a:lstStyle/>
          <a:p>
            <a:r>
              <a:rPr lang="en-US" altLang="zh-CN" sz="2800" b="1" dirty="0">
                <a:solidFill>
                  <a:schemeClr val="tx1"/>
                </a:solidFill>
              </a:rPr>
              <a:t>Simulation results</a:t>
            </a:r>
            <a:endParaRPr lang="en-US" altLang="zh-CN" dirty="0"/>
          </a:p>
        </p:txBody>
      </p:sp>
      <p:pic>
        <p:nvPicPr>
          <p:cNvPr id="4" name="Google Shape;64;p1" descr="徽标&#10;&#10;描述已自动生成">
            <a:extLst>
              <a:ext uri="{FF2B5EF4-FFF2-40B4-BE49-F238E27FC236}">
                <a16:creationId xmlns:a16="http://schemas.microsoft.com/office/drawing/2014/main" id="{B926DC82-46B1-7389-7F3F-3D47478E3623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863328" y="1"/>
            <a:ext cx="2328672" cy="1028700"/>
          </a:xfrm>
          <a:prstGeom prst="rect">
            <a:avLst/>
          </a:prstGeom>
          <a:noFill/>
          <a:ln>
            <a:noFill/>
          </a:ln>
        </p:spPr>
      </p:pic>
      <p:sp>
        <p:nvSpPr>
          <p:cNvPr id="31" name="文本框 30">
            <a:extLst>
              <a:ext uri="{FF2B5EF4-FFF2-40B4-BE49-F238E27FC236}">
                <a16:creationId xmlns:a16="http://schemas.microsoft.com/office/drawing/2014/main" id="{D8B736C7-CAD8-9D9C-526C-AE5509FCD440}"/>
              </a:ext>
            </a:extLst>
          </p:cNvPr>
          <p:cNvSpPr txBox="1"/>
          <p:nvPr/>
        </p:nvSpPr>
        <p:spPr>
          <a:xfrm>
            <a:off x="756518" y="1118331"/>
            <a:ext cx="18903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dirty="0"/>
              <a:t>Optimizer: Adam</a:t>
            </a: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C55C90D4-768A-46BE-E733-78D4680AA41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9924" y="1586088"/>
            <a:ext cx="4450596" cy="2288600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02D68DD5-AEBC-7268-E074-EDEC819B7E1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9924" y="3973113"/>
            <a:ext cx="4431120" cy="2288600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780B7F84-82F3-7EBA-829E-2D37AAD3C3E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70322" y="1586088"/>
            <a:ext cx="4450596" cy="22540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8901646"/>
      </p:ext>
    </p:extLst>
  </p:cSld>
  <p:clrMapOvr>
    <a:masterClrMapping/>
  </p:clrMapOvr>
  <p:transition>
    <p:checker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9525" imgH="9525" progId="TCLayout.ActiveDocument.1">
                  <p:embed/>
                </p:oleObj>
              </mc:Choice>
              <mc:Fallback>
                <p:oleObj name="think-cell Slide" r:id="rId5" imgW="9525" imgH="9525" progId="TCLayout.ActiveDocument.1">
                  <p:embed/>
                  <p:pic>
                    <p:nvPicPr>
                      <p:cNvPr id="3" name="对象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标题 10"/>
          <p:cNvSpPr>
            <a:spLocks noGrp="1"/>
          </p:cNvSpPr>
          <p:nvPr>
            <p:ph type="title"/>
          </p:nvPr>
        </p:nvSpPr>
        <p:spPr>
          <a:xfrm>
            <a:off x="-1427816" y="2420471"/>
            <a:ext cx="10849447" cy="1828800"/>
          </a:xfrm>
        </p:spPr>
        <p:txBody>
          <a:bodyPr>
            <a:normAutofit/>
          </a:bodyPr>
          <a:lstStyle/>
          <a:p>
            <a:pPr algn="ctr"/>
            <a:r>
              <a:rPr lang="en-US" altLang="zh-CN" sz="7200">
                <a:ln w="9525" cmpd="sng">
                  <a:solidFill>
                    <a:schemeClr val="accent1"/>
                  </a:solidFill>
                  <a:prstDash val="solid"/>
                </a:ln>
                <a:solidFill>
                  <a:srgbClr val="70AD47">
                    <a:tint val="1000"/>
                  </a:srgbClr>
                </a:solidFill>
                <a:effectLst>
                  <a:glow rad="38100">
                    <a:schemeClr val="accent1">
                      <a:alpha val="40000"/>
                    </a:schemeClr>
                  </a:glow>
                </a:effectLst>
              </a:rPr>
              <a:t>Thanks </a:t>
            </a:r>
            <a:br>
              <a:rPr lang="en-US" altLang="zh-CN"/>
            </a:br>
            <a:endParaRPr lang="zh-CN" altLang="en-US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-6350" y="5506720"/>
            <a:ext cx="3027680" cy="1332230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378585" y="6118225"/>
            <a:ext cx="1642745" cy="720725"/>
          </a:xfrm>
          <a:prstGeom prst="rect">
            <a:avLst/>
          </a:prstGeom>
        </p:spPr>
      </p:pic>
      <p:pic>
        <p:nvPicPr>
          <p:cNvPr id="5" name="Google Shape;64;p1">
            <a:extLst>
              <a:ext uri="{FF2B5EF4-FFF2-40B4-BE49-F238E27FC236}">
                <a16:creationId xmlns:a16="http://schemas.microsoft.com/office/drawing/2014/main" id="{68A7974F-53A5-F705-5B68-4ADA8818173A}"/>
              </a:ext>
            </a:extLst>
          </p:cNvPr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-6351" y="5292436"/>
            <a:ext cx="3322575" cy="156556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5"/>
      </a:dk2>
      <a:lt2>
        <a:srgbClr val="F0F0F0"/>
      </a:lt2>
      <a:accent1>
        <a:srgbClr val="106EB3"/>
      </a:accent1>
      <a:accent2>
        <a:srgbClr val="1D296E"/>
      </a:accent2>
      <a:accent3>
        <a:srgbClr val="7B99AB"/>
      </a:accent3>
      <a:accent4>
        <a:srgbClr val="BC965E"/>
      </a:accent4>
      <a:accent5>
        <a:srgbClr val="5F5042"/>
      </a:accent5>
      <a:accent6>
        <a:srgbClr val="898A8A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5"/>
      </a:dk2>
      <a:lt2>
        <a:srgbClr val="F0F0F0"/>
      </a:lt2>
      <a:accent1>
        <a:srgbClr val="106EB3"/>
      </a:accent1>
      <a:accent2>
        <a:srgbClr val="1D296E"/>
      </a:accent2>
      <a:accent3>
        <a:srgbClr val="7B99AB"/>
      </a:accent3>
      <a:accent4>
        <a:srgbClr val="BC965E"/>
      </a:accent4>
      <a:accent5>
        <a:srgbClr val="5F5042"/>
      </a:accent5>
      <a:accent6>
        <a:srgbClr val="898A8A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106EB3"/>
    </a:accent1>
    <a:accent2>
      <a:srgbClr val="1D296E"/>
    </a:accent2>
    <a:accent3>
      <a:srgbClr val="7B99AB"/>
    </a:accent3>
    <a:accent4>
      <a:srgbClr val="BC965E"/>
    </a:accent4>
    <a:accent5>
      <a:srgbClr val="5F5042"/>
    </a:accent5>
    <a:accent6>
      <a:srgbClr val="898A8A"/>
    </a:accent6>
    <a:hlink>
      <a:srgbClr val="4472C4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106EB3"/>
    </a:accent1>
    <a:accent2>
      <a:srgbClr val="1D296E"/>
    </a:accent2>
    <a:accent3>
      <a:srgbClr val="7B99AB"/>
    </a:accent3>
    <a:accent4>
      <a:srgbClr val="BC965E"/>
    </a:accent4>
    <a:accent5>
      <a:srgbClr val="5F5042"/>
    </a:accent5>
    <a:accent6>
      <a:srgbClr val="898A8A"/>
    </a:accent6>
    <a:hlink>
      <a:srgbClr val="4472C4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2538</TotalTime>
  <Words>106</Words>
  <Application>Microsoft Macintosh PowerPoint</Application>
  <PresentationFormat>宽屏</PresentationFormat>
  <Paragraphs>34</Paragraphs>
  <Slides>7</Slides>
  <Notes>6</Notes>
  <HiddenSlides>0</HiddenSlides>
  <MMClips>0</MMClips>
  <ScaleCrop>false</ScaleCrop>
  <HeadingPairs>
    <vt:vector size="8" baseType="variant">
      <vt:variant>
        <vt:lpstr>已用的字体</vt:lpstr>
      </vt:variant>
      <vt:variant>
        <vt:i4>3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7</vt:i4>
      </vt:variant>
    </vt:vector>
  </HeadingPairs>
  <TitlesOfParts>
    <vt:vector size="13" baseType="lpstr">
      <vt:lpstr>宋体</vt:lpstr>
      <vt:lpstr>Arial</vt:lpstr>
      <vt:lpstr>Calibri</vt:lpstr>
      <vt:lpstr>主题5</vt:lpstr>
      <vt:lpstr>主题5</vt:lpstr>
      <vt:lpstr>think-cell Slide</vt:lpstr>
      <vt:lpstr>Analysis of the energy sustainability of Machine Learning algorithms</vt:lpstr>
      <vt:lpstr>Agenda</vt:lpstr>
      <vt:lpstr>Last time question </vt:lpstr>
      <vt:lpstr>Agenda</vt:lpstr>
      <vt:lpstr>Simulation results</vt:lpstr>
      <vt:lpstr>Simulation results</vt:lpstr>
      <vt:lpstr>Thanks  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YIN JUN</cp:lastModifiedBy>
  <cp:revision>55</cp:revision>
  <cp:lastPrinted>2018-09-29T16:00:00Z</cp:lastPrinted>
  <dcterms:created xsi:type="dcterms:W3CDTF">2018-09-29T16:00:00Z</dcterms:created>
  <dcterms:modified xsi:type="dcterms:W3CDTF">2023-11-16T12:30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KSOProductBuildVer">
    <vt:lpwstr>2052-10.1.0.7520</vt:lpwstr>
  </property>
</Properties>
</file>